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4851" r:id="rId2"/>
    <p:sldId id="4850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C82606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61" d="100"/>
          <a:sy n="61" d="100"/>
        </p:scale>
        <p:origin x="102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% contribution</a:t>
            </a:r>
          </a:p>
        </c:rich>
      </c:tx>
      <c:layout>
        <c:manualLayout>
          <c:xMode val="edge"/>
          <c:yMode val="edge"/>
          <c:x val="0.3485646166378040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5536496780347897"/>
          <c:y val="0.271025831999823"/>
          <c:w val="0.29454793753507547"/>
          <c:h val="0.6594497334208412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083-4CD0-9ACC-AC297A22F02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083-4CD0-9ACC-AC297A22F02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083-4CD0-9ACC-AC297A22F02B}"/>
              </c:ext>
            </c:extLst>
          </c:dPt>
          <c:dLbls>
            <c:dLbl>
              <c:idx val="0"/>
              <c:layout>
                <c:manualLayout>
                  <c:x val="3.3208719347429198E-3"/>
                  <c:y val="-0.1610495563753519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5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083-4CD0-9ACC-AC297A22F02B}"/>
                </c:ext>
              </c:extLst>
            </c:dLbl>
            <c:dLbl>
              <c:idx val="1"/>
              <c:layout>
                <c:manualLayout>
                  <c:x val="0.11197928477230605"/>
                  <c:y val="2.579628235299059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500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083-4CD0-9ACC-AC297A22F02B}"/>
                </c:ext>
              </c:extLst>
            </c:dLbl>
            <c:dLbl>
              <c:idx val="2"/>
              <c:layout>
                <c:manualLayout>
                  <c:x val="-0.10336812474742549"/>
                  <c:y val="-2.5796282352991205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500" b="1" i="0" u="none" strike="noStrike" kern="1200" baseline="0">
                      <a:solidFill>
                        <a:srgbClr val="C8260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083-4CD0-9ACC-AC297A22F0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Synergy</c:v>
                </c:pt>
                <c:pt idx="1">
                  <c:v>FB</c:v>
                </c:pt>
                <c:pt idx="2">
                  <c:v>Google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4.4050898640824697E-2</c:v>
                </c:pt>
                <c:pt idx="1">
                  <c:v>0.51329167877655868</c:v>
                </c:pt>
                <c:pt idx="2">
                  <c:v>0.44270832122344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083-4CD0-9ACC-AC297A22F02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47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0181042880977385"/>
          <c:y val="0.30350037646925399"/>
          <c:w val="0.2271218476483175"/>
          <c:h val="0.521434961095155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19050">
      <a:solidFill>
        <a:schemeClr val="tx1"/>
      </a:solidFill>
      <a:prstDash val="dash"/>
    </a:ln>
    <a:effectLst/>
  </c:spPr>
  <c:txPr>
    <a:bodyPr/>
    <a:lstStyle/>
    <a:p>
      <a:pPr>
        <a:defRPr sz="15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/>
              <a:t>Additional uplift when different media channels are executed simultaneously (%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dditional uplift when different media channels are executed simultaneously (%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EEB8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BFD9-488E-BBBA-04CC113A60E2}"/>
              </c:ext>
            </c:extLst>
          </c:dPt>
          <c:dPt>
            <c:idx val="1"/>
            <c:invertIfNegative val="0"/>
            <c:bubble3D val="0"/>
            <c:spPr>
              <a:solidFill>
                <a:srgbClr val="FDD2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BFD9-488E-BBBA-04CC113A60E2}"/>
              </c:ext>
            </c:extLst>
          </c:dPt>
          <c:dPt>
            <c:idx val="2"/>
            <c:invertIfNegative val="0"/>
            <c:bubble3D val="0"/>
            <c:spPr>
              <a:solidFill>
                <a:srgbClr val="FDCA7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BFD9-488E-BBBA-04CC113A60E2}"/>
              </c:ext>
            </c:extLst>
          </c:dPt>
          <c:dPt>
            <c:idx val="3"/>
            <c:invertIfNegative val="0"/>
            <c:bubble3D val="0"/>
            <c:spPr>
              <a:solidFill>
                <a:srgbClr val="FBA97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BFD9-488E-BBBA-04CC113A60E2}"/>
              </c:ext>
            </c:extLst>
          </c:dPt>
          <c:dPt>
            <c:idx val="4"/>
            <c:invertIfNegative val="0"/>
            <c:bubble3D val="0"/>
            <c:spPr>
              <a:solidFill>
                <a:srgbClr val="F86E6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BFD9-488E-BBBA-04CC113A60E2}"/>
              </c:ext>
            </c:extLst>
          </c:dPt>
          <c:dPt>
            <c:idx val="5"/>
            <c:invertIfNegative val="0"/>
            <c:bubble3D val="0"/>
            <c:spPr>
              <a:solidFill>
                <a:srgbClr val="F8706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BFD9-488E-BBBA-04CC113A60E2}"/>
              </c:ext>
            </c:extLst>
          </c:dPt>
          <c:dPt>
            <c:idx val="6"/>
            <c:invertIfNegative val="0"/>
            <c:bubble3D val="0"/>
            <c:spPr>
              <a:solidFill>
                <a:srgbClr val="D5DF8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FD9-488E-BBBA-04CC113A60E2}"/>
              </c:ext>
            </c:extLst>
          </c:dPt>
          <c:dPt>
            <c:idx val="7"/>
            <c:invertIfNegative val="0"/>
            <c:bubble3D val="0"/>
            <c:spPr>
              <a:solidFill>
                <a:srgbClr val="FEE7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BFD9-488E-BBBA-04CC113A60E2}"/>
              </c:ext>
            </c:extLst>
          </c:dPt>
          <c:dPt>
            <c:idx val="8"/>
            <c:invertIfNegative val="0"/>
            <c:bubble3D val="0"/>
            <c:spPr>
              <a:solidFill>
                <a:srgbClr val="F8756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FD9-488E-BBBA-04CC113A60E2}"/>
              </c:ext>
            </c:extLst>
          </c:dPt>
          <c:dPt>
            <c:idx val="9"/>
            <c:invertIfNegative val="0"/>
            <c:bubble3D val="0"/>
            <c:spPr>
              <a:solidFill>
                <a:srgbClr val="F8696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BFD9-488E-BBBA-04CC113A60E2}"/>
              </c:ext>
            </c:extLst>
          </c:dPt>
          <c:dPt>
            <c:idx val="10"/>
            <c:invertIfNegative val="0"/>
            <c:bubble3D val="0"/>
            <c:spPr>
              <a:solidFill>
                <a:srgbClr val="8BCA7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FD9-488E-BBBA-04CC113A60E2}"/>
              </c:ext>
            </c:extLst>
          </c:dPt>
          <c:dPt>
            <c:idx val="11"/>
            <c:invertIfNegative val="0"/>
            <c:bubble3D val="0"/>
            <c:spPr>
              <a:solidFill>
                <a:srgbClr val="C5DB8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BFD9-488E-BBBA-04CC113A60E2}"/>
              </c:ext>
            </c:extLst>
          </c:dPt>
          <c:dPt>
            <c:idx val="12"/>
            <c:invertIfNegative val="0"/>
            <c:bubble3D val="0"/>
            <c:spPr>
              <a:solidFill>
                <a:srgbClr val="E7E5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FD9-488E-BBBA-04CC113A60E2}"/>
              </c:ext>
            </c:extLst>
          </c:dPt>
          <c:dPt>
            <c:idx val="13"/>
            <c:invertIfNegative val="0"/>
            <c:bubble3D val="0"/>
            <c:spPr>
              <a:solidFill>
                <a:srgbClr val="7DC67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FD9-488E-BBBA-04CC113A60E2}"/>
              </c:ext>
            </c:extLst>
          </c:dPt>
          <c:dPt>
            <c:idx val="14"/>
            <c:invertIfNegative val="0"/>
            <c:bubble3D val="0"/>
            <c:spPr>
              <a:solidFill>
                <a:srgbClr val="A5D1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FD9-488E-BBBA-04CC113A60E2}"/>
              </c:ext>
            </c:extLst>
          </c:dPt>
          <c:dPt>
            <c:idx val="15"/>
            <c:invertIfNegative val="0"/>
            <c:bubble3D val="0"/>
            <c:spPr>
              <a:solidFill>
                <a:srgbClr val="63BE7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FD9-488E-BBBA-04CC113A60E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OOH+Google</c:v>
                </c:pt>
                <c:pt idx="1">
                  <c:v>OOH+FB</c:v>
                </c:pt>
                <c:pt idx="2">
                  <c:v>FB+Google</c:v>
                </c:pt>
                <c:pt idx="3">
                  <c:v>FB+Ref</c:v>
                </c:pt>
                <c:pt idx="4">
                  <c:v>Google+Ref</c:v>
                </c:pt>
                <c:pt idx="5">
                  <c:v>AppleBrand+Google</c:v>
                </c:pt>
                <c:pt idx="6">
                  <c:v>OOH+Google+FB</c:v>
                </c:pt>
                <c:pt idx="7">
                  <c:v>AppleBranded Search+Google+FB</c:v>
                </c:pt>
                <c:pt idx="8">
                  <c:v>(Google+Apple) Branded Search + OOH</c:v>
                </c:pt>
                <c:pt idx="9">
                  <c:v>(Google+Apple) Branded Search + Ref</c:v>
                </c:pt>
                <c:pt idx="10">
                  <c:v>OOH+Google+FB+Ref</c:v>
                </c:pt>
                <c:pt idx="11">
                  <c:v>AppleBranded Search+Google+FB+OOH</c:v>
                </c:pt>
                <c:pt idx="12">
                  <c:v>(Google+Apple) Branded Search +FB+Google</c:v>
                </c:pt>
                <c:pt idx="13">
                  <c:v>OOH+Google+FB+Ref+AppleBranded Search</c:v>
                </c:pt>
                <c:pt idx="14">
                  <c:v>(Google+Apple) Branded Search + FB+Google+OOH</c:v>
                </c:pt>
                <c:pt idx="15">
                  <c:v>(Google+Apple) Branded Search +FB+Google+OOH+Ref </c:v>
                </c:pt>
              </c:strCache>
            </c:strRef>
          </c:cat>
          <c:val>
            <c:numRef>
              <c:f>Sheet1!$B$2:$B$17</c:f>
              <c:numCache>
                <c:formatCode>0.0%</c:formatCode>
                <c:ptCount val="16"/>
                <c:pt idx="0">
                  <c:v>4.9952244592302651E-2</c:v>
                </c:pt>
                <c:pt idx="1">
                  <c:v>4.5328885202161454E-2</c:v>
                </c:pt>
                <c:pt idx="2">
                  <c:v>4.4050898640824697E-2</c:v>
                </c:pt>
                <c:pt idx="3">
                  <c:v>3.8739218066539689E-2</c:v>
                </c:pt>
                <c:pt idx="4">
                  <c:v>2.9494932131532314E-2</c:v>
                </c:pt>
                <c:pt idx="5">
                  <c:v>2.9251042691805267E-2</c:v>
                </c:pt>
                <c:pt idx="6">
                  <c:v>6.1942856231467211E-2</c:v>
                </c:pt>
                <c:pt idx="7">
                  <c:v>4.8798529118969695E-2</c:v>
                </c:pt>
                <c:pt idx="8">
                  <c:v>3.0379271033839174E-2</c:v>
                </c:pt>
                <c:pt idx="9">
                  <c:v>2.8281150700557853E-2</c:v>
                </c:pt>
                <c:pt idx="10">
                  <c:v>8.365055017586645E-2</c:v>
                </c:pt>
                <c:pt idx="11">
                  <c:v>6.6708633825012451E-2</c:v>
                </c:pt>
                <c:pt idx="12">
                  <c:v>5.6540516742069349E-2</c:v>
                </c:pt>
                <c:pt idx="13">
                  <c:v>8.7789115662462877E-2</c:v>
                </c:pt>
                <c:pt idx="14">
                  <c:v>7.6100518674273671E-2</c:v>
                </c:pt>
                <c:pt idx="15">
                  <c:v>9.545770011136668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9F-4D81-A114-C8294AE85D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795945488"/>
        <c:axId val="1795953808"/>
      </c:barChart>
      <c:valAx>
        <c:axId val="1795953808"/>
        <c:scaling>
          <c:orientation val="minMax"/>
        </c:scaling>
        <c:delete val="0"/>
        <c:axPos val="b"/>
        <c:numFmt formatCode="0.0%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95945488"/>
        <c:crosses val="autoZero"/>
        <c:crossBetween val="between"/>
      </c:valAx>
      <c:catAx>
        <c:axId val="179594548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959538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95000"/>
              <a:lumOff val="5000"/>
            </a:schemeClr>
          </a:solidFill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3889</cdr:x>
      <cdr:y>0.23872</cdr:y>
    </cdr:from>
    <cdr:to>
      <cdr:x>0.89892</cdr:x>
      <cdr:y>0.31639</cdr:y>
    </cdr:to>
    <cdr:cxnSp macro="">
      <cdr:nvCxnSpPr>
        <cdr:cNvPr id="3" name="Straight Arrow Connector 2">
          <a:extLst xmlns:a="http://schemas.openxmlformats.org/drawingml/2006/main">
            <a:ext uri="{FF2B5EF4-FFF2-40B4-BE49-F238E27FC236}">
              <a16:creationId xmlns:a16="http://schemas.microsoft.com/office/drawing/2014/main" id="{864D76CE-8BDA-46A9-AF20-242D2D4C313C}"/>
            </a:ext>
          </a:extLst>
        </cdr:cNvPr>
        <cdr:cNvCxnSpPr/>
      </cdr:nvCxnSpPr>
      <cdr:spPr>
        <a:xfrm xmlns:a="http://schemas.openxmlformats.org/drawingml/2006/main" flipH="1" flipV="1">
          <a:off x="8391060" y="1392643"/>
          <a:ext cx="600501" cy="453090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3479</cdr:x>
      <cdr:y>0.31575</cdr:y>
    </cdr:from>
    <cdr:to>
      <cdr:x>0.89786</cdr:x>
      <cdr:y>0.38812</cdr:y>
    </cdr:to>
    <cdr:cxnSp macro="">
      <cdr:nvCxnSpPr>
        <cdr:cNvPr id="4" name="Straight Arrow Connector 3">
          <a:extLst xmlns:a="http://schemas.openxmlformats.org/drawingml/2006/main">
            <a:ext uri="{FF2B5EF4-FFF2-40B4-BE49-F238E27FC236}">
              <a16:creationId xmlns:a16="http://schemas.microsoft.com/office/drawing/2014/main" id="{1BCCEC44-F062-430A-920F-05ABEF75DCC6}"/>
            </a:ext>
          </a:extLst>
        </cdr:cNvPr>
        <cdr:cNvCxnSpPr/>
      </cdr:nvCxnSpPr>
      <cdr:spPr>
        <a:xfrm xmlns:a="http://schemas.openxmlformats.org/drawingml/2006/main" flipH="1">
          <a:off x="8350119" y="1842001"/>
          <a:ext cx="630780" cy="422222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E043A699-8B92-4F04-BAAC-BF9088F98EAA}"/>
              </a:ext>
            </a:extLst>
          </p:cNvPr>
          <p:cNvGrpSpPr/>
          <p:nvPr/>
        </p:nvGrpSpPr>
        <p:grpSpPr>
          <a:xfrm>
            <a:off x="0" y="461667"/>
            <a:ext cx="12192000" cy="6106374"/>
            <a:chOff x="0" y="461667"/>
            <a:chExt cx="12192000" cy="610637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EFD77E8-E15B-487E-AE5B-D40041C1D5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3447" r="1762"/>
            <a:stretch/>
          </p:blipFill>
          <p:spPr>
            <a:xfrm>
              <a:off x="0" y="461667"/>
              <a:ext cx="12192000" cy="6106374"/>
            </a:xfrm>
            <a:prstGeom prst="rect">
              <a:avLst/>
            </a:prstGeom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CF8F1B5-5541-49CF-8703-F2B1647505A2}"/>
                </a:ext>
              </a:extLst>
            </p:cNvPr>
            <p:cNvGrpSpPr/>
            <p:nvPr/>
          </p:nvGrpSpPr>
          <p:grpSpPr>
            <a:xfrm>
              <a:off x="6927850" y="3673475"/>
              <a:ext cx="1454150" cy="1037420"/>
              <a:chOff x="6927850" y="3673475"/>
              <a:chExt cx="1454150" cy="1037420"/>
            </a:xfrm>
          </p:grpSpPr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3DC51101-3F48-4312-9796-734AC4321935}"/>
                  </a:ext>
                </a:extLst>
              </p:cNvPr>
              <p:cNvCxnSpPr/>
              <p:nvPr/>
            </p:nvCxnSpPr>
            <p:spPr>
              <a:xfrm>
                <a:off x="7385050" y="3673475"/>
                <a:ext cx="996950" cy="349250"/>
              </a:xfrm>
              <a:prstGeom prst="line">
                <a:avLst/>
              </a:prstGeom>
              <a:ln w="1016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59AFFB9B-EACD-4089-8CF8-25F1D0C52D3F}"/>
                  </a:ext>
                </a:extLst>
              </p:cNvPr>
              <p:cNvCxnSpPr/>
              <p:nvPr/>
            </p:nvCxnSpPr>
            <p:spPr>
              <a:xfrm>
                <a:off x="7156450" y="4017560"/>
                <a:ext cx="996950" cy="349250"/>
              </a:xfrm>
              <a:prstGeom prst="line">
                <a:avLst/>
              </a:prstGeom>
              <a:ln w="1016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C3B04991-8614-4BE9-970E-F6E4E96DBA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927850" y="4192185"/>
                <a:ext cx="1282700" cy="518710"/>
              </a:xfrm>
              <a:prstGeom prst="line">
                <a:avLst/>
              </a:prstGeom>
              <a:ln w="1016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18CA633A-6208-44A6-B687-DDD71F301BC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l="63275" t="71109" r="32107" b="24468"/>
              <a:stretch/>
            </p:blipFill>
            <p:spPr>
              <a:xfrm>
                <a:off x="6994525" y="4229827"/>
                <a:ext cx="573087" cy="312066"/>
              </a:xfrm>
              <a:prstGeom prst="rect">
                <a:avLst/>
              </a:prstGeom>
            </p:spPr>
          </p:pic>
        </p:grpSp>
      </p:grpSp>
      <p:pic>
        <p:nvPicPr>
          <p:cNvPr id="14" name="Picture 2" descr="\\SONY\Users\Nivas\Desktop\analytic-edge\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9990" y="5782322"/>
            <a:ext cx="2360060" cy="794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A30AC978-D681-4808-827B-66F98781BAAE}"/>
              </a:ext>
            </a:extLst>
          </p:cNvPr>
          <p:cNvSpPr/>
          <p:nvPr/>
        </p:nvSpPr>
        <p:spPr>
          <a:xfrm>
            <a:off x="275169" y="4993671"/>
            <a:ext cx="1265085" cy="12387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Picture 6" descr="Facebook logo and symbol, meaning, history, PNG">
            <a:extLst>
              <a:ext uri="{FF2B5EF4-FFF2-40B4-BE49-F238E27FC236}">
                <a16:creationId xmlns:a16="http://schemas.microsoft.com/office/drawing/2014/main" id="{D6953F64-2EF5-4652-8143-A50399F0EB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977637"/>
            <a:ext cx="1815423" cy="1270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A8842A9-4D89-40E8-96D5-16CEDD38FD0D}"/>
              </a:ext>
            </a:extLst>
          </p:cNvPr>
          <p:cNvSpPr/>
          <p:nvPr/>
        </p:nvSpPr>
        <p:spPr>
          <a:xfrm>
            <a:off x="374754" y="2788783"/>
            <a:ext cx="5321508" cy="1558977"/>
          </a:xfrm>
          <a:prstGeom prst="rect">
            <a:avLst/>
          </a:prstGeom>
          <a:solidFill>
            <a:srgbClr val="D9FD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1" name="Picture 2" descr="Bolt (company) - Wikipedia">
            <a:extLst>
              <a:ext uri="{FF2B5EF4-FFF2-40B4-BE49-F238E27FC236}">
                <a16:creationId xmlns:a16="http://schemas.microsoft.com/office/drawing/2014/main" id="{5BF01644-6B3F-4D75-9ED5-A34D61AD66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100" y="475343"/>
            <a:ext cx="1461222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658E854F-6C5D-48B8-A6A9-1498C48ED306}"/>
              </a:ext>
            </a:extLst>
          </p:cNvPr>
          <p:cNvGrpSpPr/>
          <p:nvPr userDrawn="1"/>
        </p:nvGrpSpPr>
        <p:grpSpPr>
          <a:xfrm>
            <a:off x="0" y="461667"/>
            <a:ext cx="12192000" cy="6106374"/>
            <a:chOff x="0" y="461667"/>
            <a:chExt cx="12192000" cy="6106374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CFEF5FA-D41E-46F2-9A4A-565F1EFF4E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13447" r="1762"/>
            <a:stretch/>
          </p:blipFill>
          <p:spPr>
            <a:xfrm>
              <a:off x="0" y="461667"/>
              <a:ext cx="12192000" cy="6106374"/>
            </a:xfrm>
            <a:prstGeom prst="rect">
              <a:avLst/>
            </a:prstGeom>
          </p:spPr>
        </p:pic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E67E8981-2868-428D-8E0D-B02F448D83A3}"/>
                </a:ext>
              </a:extLst>
            </p:cNvPr>
            <p:cNvGrpSpPr/>
            <p:nvPr userDrawn="1"/>
          </p:nvGrpSpPr>
          <p:grpSpPr>
            <a:xfrm>
              <a:off x="6927850" y="3673475"/>
              <a:ext cx="1454150" cy="1037420"/>
              <a:chOff x="6927850" y="3673475"/>
              <a:chExt cx="1454150" cy="1037420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9B74F7A5-09A2-4558-BEF7-CC0457243DCD}"/>
                  </a:ext>
                </a:extLst>
              </p:cNvPr>
              <p:cNvCxnSpPr/>
              <p:nvPr userDrawn="1"/>
            </p:nvCxnSpPr>
            <p:spPr>
              <a:xfrm>
                <a:off x="7385050" y="3673475"/>
                <a:ext cx="996950" cy="349250"/>
              </a:xfrm>
              <a:prstGeom prst="line">
                <a:avLst/>
              </a:prstGeom>
              <a:ln w="1016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2AD8A211-87E8-4D88-B2D0-F85F2B0B83B1}"/>
                  </a:ext>
                </a:extLst>
              </p:cNvPr>
              <p:cNvCxnSpPr/>
              <p:nvPr userDrawn="1"/>
            </p:nvCxnSpPr>
            <p:spPr>
              <a:xfrm>
                <a:off x="7156450" y="4017560"/>
                <a:ext cx="996950" cy="349250"/>
              </a:xfrm>
              <a:prstGeom prst="line">
                <a:avLst/>
              </a:prstGeom>
              <a:ln w="1016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48DD9778-669F-4F78-AC45-35D05E6E1D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27850" y="4192185"/>
                <a:ext cx="1282700" cy="518710"/>
              </a:xfrm>
              <a:prstGeom prst="line">
                <a:avLst/>
              </a:prstGeom>
              <a:ln w="1016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E9DF1A30-25E9-45A7-8DA1-7F741204C15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l="63275" t="71109" r="32107" b="24468"/>
              <a:stretch/>
            </p:blipFill>
            <p:spPr>
              <a:xfrm>
                <a:off x="6994525" y="4229827"/>
                <a:ext cx="573087" cy="312066"/>
              </a:xfrm>
              <a:prstGeom prst="rect">
                <a:avLst/>
              </a:prstGeom>
            </p:spPr>
          </p:pic>
        </p:grpSp>
      </p:grpSp>
      <p:pic>
        <p:nvPicPr>
          <p:cNvPr id="28" name="Picture 2" descr="\\SONY\Users\Nivas\Desktop\analytic-edge\logo.png">
            <a:extLst>
              <a:ext uri="{FF2B5EF4-FFF2-40B4-BE49-F238E27FC236}">
                <a16:creationId xmlns:a16="http://schemas.microsoft.com/office/drawing/2014/main" id="{66773F4B-FDBF-4616-9045-E67ECDBF573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9990" y="5782322"/>
            <a:ext cx="2360060" cy="794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6FBC16E1-726D-4C0C-8ADE-BC525A48E78F}"/>
              </a:ext>
            </a:extLst>
          </p:cNvPr>
          <p:cNvSpPr/>
          <p:nvPr userDrawn="1"/>
        </p:nvSpPr>
        <p:spPr>
          <a:xfrm>
            <a:off x="275169" y="4993671"/>
            <a:ext cx="1265085" cy="12387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" name="Picture 6" descr="Facebook logo and symbol, meaning, history, PNG">
            <a:extLst>
              <a:ext uri="{FF2B5EF4-FFF2-40B4-BE49-F238E27FC236}">
                <a16:creationId xmlns:a16="http://schemas.microsoft.com/office/drawing/2014/main" id="{0D15B325-A6A0-4F8C-981D-75B5B553FF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977637"/>
            <a:ext cx="1815423" cy="1270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A4C5E9B6-628B-4C31-A671-0402F1BE48EC}"/>
              </a:ext>
            </a:extLst>
          </p:cNvPr>
          <p:cNvSpPr/>
          <p:nvPr userDrawn="1"/>
        </p:nvSpPr>
        <p:spPr>
          <a:xfrm>
            <a:off x="374754" y="2788783"/>
            <a:ext cx="5321508" cy="1558977"/>
          </a:xfrm>
          <a:prstGeom prst="rect">
            <a:avLst/>
          </a:prstGeom>
          <a:solidFill>
            <a:srgbClr val="D9FD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32" name="Picture 2" descr="Bolt (company) - Wikipedia">
            <a:extLst>
              <a:ext uri="{FF2B5EF4-FFF2-40B4-BE49-F238E27FC236}">
                <a16:creationId xmlns:a16="http://schemas.microsoft.com/office/drawing/2014/main" id="{0687B946-440F-4226-AA5E-A1FF86A20A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100" y="475343"/>
            <a:ext cx="1461222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38205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>
            <a:extLst>
              <a:ext uri="{FF2B5EF4-FFF2-40B4-BE49-F238E27FC236}">
                <a16:creationId xmlns:a16="http://schemas.microsoft.com/office/drawing/2014/main" id="{1858899B-9078-44C7-AFE2-BCE088FBB5F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70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2">
            <a:extLst>
              <a:ext uri="{FF2B5EF4-FFF2-40B4-BE49-F238E27FC236}">
                <a16:creationId xmlns:a16="http://schemas.microsoft.com/office/drawing/2014/main" id="{46F3D7DC-458E-4AF0-958E-BCB167E20295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454987D-08E0-4D91-B4F2-E87FBBFA3DBA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11332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>
            <a:extLst>
              <a:ext uri="{FF2B5EF4-FFF2-40B4-BE49-F238E27FC236}">
                <a16:creationId xmlns:a16="http://schemas.microsoft.com/office/drawing/2014/main" id="{63210EC0-7E8B-4AAB-8F3E-60EF6FFC19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2">
            <a:extLst>
              <a:ext uri="{FF2B5EF4-FFF2-40B4-BE49-F238E27FC236}">
                <a16:creationId xmlns:a16="http://schemas.microsoft.com/office/drawing/2014/main" id="{46F3D7DC-458E-4AF0-958E-BCB167E20295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454987D-08E0-4D91-B4F2-E87FBBFA3DBA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4881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>
            <a:extLst>
              <a:ext uri="{FF2B5EF4-FFF2-40B4-BE49-F238E27FC236}">
                <a16:creationId xmlns:a16="http://schemas.microsoft.com/office/drawing/2014/main" id="{C4B3391D-6E0B-4160-ABE2-9D0E82E645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2">
            <a:extLst>
              <a:ext uri="{FF2B5EF4-FFF2-40B4-BE49-F238E27FC236}">
                <a16:creationId xmlns:a16="http://schemas.microsoft.com/office/drawing/2014/main" id="{46F3D7DC-458E-4AF0-958E-BCB167E20295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454987D-08E0-4D91-B4F2-E87FBBFA3DBA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7870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>
            <a:extLst>
              <a:ext uri="{FF2B5EF4-FFF2-40B4-BE49-F238E27FC236}">
                <a16:creationId xmlns:a16="http://schemas.microsoft.com/office/drawing/2014/main" id="{131DA897-EF77-49B3-BDED-B669B305613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70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2">
            <a:extLst>
              <a:ext uri="{FF2B5EF4-FFF2-40B4-BE49-F238E27FC236}">
                <a16:creationId xmlns:a16="http://schemas.microsoft.com/office/drawing/2014/main" id="{46F3D7DC-458E-4AF0-958E-BCB167E20295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454987D-08E0-4D91-B4F2-E87FBBFA3DBA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07224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Bolt | Fast and Affordable Rides">
            <a:extLst>
              <a:ext uri="{FF2B5EF4-FFF2-40B4-BE49-F238E27FC236}">
                <a16:creationId xmlns:a16="http://schemas.microsoft.com/office/drawing/2014/main" id="{E1A700A8-4036-4858-9357-50302A568E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Bolt | Fast and Affordable Rides">
            <a:extLst>
              <a:ext uri="{FF2B5EF4-FFF2-40B4-BE49-F238E27FC236}">
                <a16:creationId xmlns:a16="http://schemas.microsoft.com/office/drawing/2014/main" id="{4FB77391-1BE0-4CEA-B7A0-6E6CEDFEAF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44387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A99ABF4-0C34-4A82-A80A-853A3AE0EE8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2">
            <a:extLst>
              <a:ext uri="{FF2B5EF4-FFF2-40B4-BE49-F238E27FC236}">
                <a16:creationId xmlns:a16="http://schemas.microsoft.com/office/drawing/2014/main" id="{46F3D7DC-458E-4AF0-958E-BCB167E20295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454987D-08E0-4D91-B4F2-E87FBBFA3DBA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83366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 Slid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0">
            <a:extLst>
              <a:ext uri="{FF2B5EF4-FFF2-40B4-BE49-F238E27FC236}">
                <a16:creationId xmlns:a16="http://schemas.microsoft.com/office/drawing/2014/main" id="{ABA5352C-37F8-448A-BE6A-BF5F0C61D13E}"/>
              </a:ext>
            </a:extLst>
          </p:cNvPr>
          <p:cNvSpPr/>
          <p:nvPr userDrawn="1"/>
        </p:nvSpPr>
        <p:spPr>
          <a:xfrm>
            <a:off x="0" y="-19049"/>
            <a:ext cx="8401050" cy="6877049"/>
          </a:xfrm>
          <a:custGeom>
            <a:avLst/>
            <a:gdLst>
              <a:gd name="connsiteX0" fmla="*/ 0 w 3124200"/>
              <a:gd name="connsiteY0" fmla="*/ 0 h 5513219"/>
              <a:gd name="connsiteX1" fmla="*/ 3124200 w 3124200"/>
              <a:gd name="connsiteY1" fmla="*/ 0 h 5513219"/>
              <a:gd name="connsiteX2" fmla="*/ 3124200 w 3124200"/>
              <a:gd name="connsiteY2" fmla="*/ 5513219 h 5513219"/>
              <a:gd name="connsiteX3" fmla="*/ 0 w 3124200"/>
              <a:gd name="connsiteY3" fmla="*/ 5513219 h 5513219"/>
              <a:gd name="connsiteX4" fmla="*/ 0 w 3124200"/>
              <a:gd name="connsiteY4" fmla="*/ 0 h 5513219"/>
              <a:gd name="connsiteX0" fmla="*/ 171450 w 3295650"/>
              <a:gd name="connsiteY0" fmla="*/ 0 h 5513219"/>
              <a:gd name="connsiteX1" fmla="*/ 0 w 3295650"/>
              <a:gd name="connsiteY1" fmla="*/ 457200 h 5513219"/>
              <a:gd name="connsiteX2" fmla="*/ 3295650 w 3295650"/>
              <a:gd name="connsiteY2" fmla="*/ 5513219 h 5513219"/>
              <a:gd name="connsiteX3" fmla="*/ 171450 w 3295650"/>
              <a:gd name="connsiteY3" fmla="*/ 5513219 h 5513219"/>
              <a:gd name="connsiteX4" fmla="*/ 171450 w 3295650"/>
              <a:gd name="connsiteY4" fmla="*/ 0 h 5513219"/>
              <a:gd name="connsiteX0" fmla="*/ 171450 w 3543300"/>
              <a:gd name="connsiteY0" fmla="*/ 0 h 5513219"/>
              <a:gd name="connsiteX1" fmla="*/ 0 w 3543300"/>
              <a:gd name="connsiteY1" fmla="*/ 457200 h 5513219"/>
              <a:gd name="connsiteX2" fmla="*/ 3543300 w 3543300"/>
              <a:gd name="connsiteY2" fmla="*/ 5456069 h 5513219"/>
              <a:gd name="connsiteX3" fmla="*/ 171450 w 3543300"/>
              <a:gd name="connsiteY3" fmla="*/ 5513219 h 5513219"/>
              <a:gd name="connsiteX4" fmla="*/ 171450 w 3543300"/>
              <a:gd name="connsiteY4" fmla="*/ 0 h 5513219"/>
              <a:gd name="connsiteX0" fmla="*/ 171450 w 3492500"/>
              <a:gd name="connsiteY0" fmla="*/ 0 h 5513219"/>
              <a:gd name="connsiteX1" fmla="*/ 0 w 3492500"/>
              <a:gd name="connsiteY1" fmla="*/ 457200 h 5513219"/>
              <a:gd name="connsiteX2" fmla="*/ 3492500 w 3492500"/>
              <a:gd name="connsiteY2" fmla="*/ 5481469 h 5513219"/>
              <a:gd name="connsiteX3" fmla="*/ 171450 w 3492500"/>
              <a:gd name="connsiteY3" fmla="*/ 5513219 h 5513219"/>
              <a:gd name="connsiteX4" fmla="*/ 171450 w 3492500"/>
              <a:gd name="connsiteY4" fmla="*/ 0 h 5513219"/>
              <a:gd name="connsiteX0" fmla="*/ 171450 w 3505200"/>
              <a:gd name="connsiteY0" fmla="*/ 0 h 5513219"/>
              <a:gd name="connsiteX1" fmla="*/ 0 w 3505200"/>
              <a:gd name="connsiteY1" fmla="*/ 457200 h 5513219"/>
              <a:gd name="connsiteX2" fmla="*/ 3505200 w 3505200"/>
              <a:gd name="connsiteY2" fmla="*/ 5506869 h 5513219"/>
              <a:gd name="connsiteX3" fmla="*/ 171450 w 3505200"/>
              <a:gd name="connsiteY3" fmla="*/ 5513219 h 5513219"/>
              <a:gd name="connsiteX4" fmla="*/ 171450 w 3505200"/>
              <a:gd name="connsiteY4" fmla="*/ 0 h 5513219"/>
              <a:gd name="connsiteX0" fmla="*/ 171450 w 3505200"/>
              <a:gd name="connsiteY0" fmla="*/ 5056019 h 5056019"/>
              <a:gd name="connsiteX1" fmla="*/ 0 w 3505200"/>
              <a:gd name="connsiteY1" fmla="*/ 0 h 5056019"/>
              <a:gd name="connsiteX2" fmla="*/ 3505200 w 3505200"/>
              <a:gd name="connsiteY2" fmla="*/ 5049669 h 5056019"/>
              <a:gd name="connsiteX3" fmla="*/ 171450 w 3505200"/>
              <a:gd name="connsiteY3" fmla="*/ 5056019 h 5056019"/>
              <a:gd name="connsiteX0" fmla="*/ 69850 w 3403600"/>
              <a:gd name="connsiteY0" fmla="*/ 4344819 h 4344819"/>
              <a:gd name="connsiteX1" fmla="*/ 0 w 3403600"/>
              <a:gd name="connsiteY1" fmla="*/ 0 h 4344819"/>
              <a:gd name="connsiteX2" fmla="*/ 3403600 w 3403600"/>
              <a:gd name="connsiteY2" fmla="*/ 4338469 h 4344819"/>
              <a:gd name="connsiteX3" fmla="*/ 69850 w 3403600"/>
              <a:gd name="connsiteY3" fmla="*/ 4344819 h 4344819"/>
              <a:gd name="connsiteX0" fmla="*/ 69850 w 3530600"/>
              <a:gd name="connsiteY0" fmla="*/ 4344819 h 4344819"/>
              <a:gd name="connsiteX1" fmla="*/ 0 w 3530600"/>
              <a:gd name="connsiteY1" fmla="*/ 0 h 4344819"/>
              <a:gd name="connsiteX2" fmla="*/ 3530600 w 3530600"/>
              <a:gd name="connsiteY2" fmla="*/ 4338469 h 4344819"/>
              <a:gd name="connsiteX3" fmla="*/ 69850 w 3530600"/>
              <a:gd name="connsiteY3" fmla="*/ 4344819 h 4344819"/>
              <a:gd name="connsiteX0" fmla="*/ 5068 w 3530600"/>
              <a:gd name="connsiteY0" fmla="*/ 4344819 h 4344819"/>
              <a:gd name="connsiteX1" fmla="*/ 0 w 3530600"/>
              <a:gd name="connsiteY1" fmla="*/ 0 h 4344819"/>
              <a:gd name="connsiteX2" fmla="*/ 3530600 w 3530600"/>
              <a:gd name="connsiteY2" fmla="*/ 4338469 h 4344819"/>
              <a:gd name="connsiteX3" fmla="*/ 5068 w 3530600"/>
              <a:gd name="connsiteY3" fmla="*/ 4344819 h 4344819"/>
              <a:gd name="connsiteX0" fmla="*/ 5068 w 3530600"/>
              <a:gd name="connsiteY0" fmla="*/ 4344819 h 4344819"/>
              <a:gd name="connsiteX1" fmla="*/ 0 w 3530600"/>
              <a:gd name="connsiteY1" fmla="*/ 0 h 4344819"/>
              <a:gd name="connsiteX2" fmla="*/ 1163848 w 3530600"/>
              <a:gd name="connsiteY2" fmla="*/ 555171 h 4344819"/>
              <a:gd name="connsiteX3" fmla="*/ 3530600 w 3530600"/>
              <a:gd name="connsiteY3" fmla="*/ 4338469 h 4344819"/>
              <a:gd name="connsiteX4" fmla="*/ 5068 w 3530600"/>
              <a:gd name="connsiteY4" fmla="*/ 4344819 h 4344819"/>
              <a:gd name="connsiteX0" fmla="*/ 5068 w 3530600"/>
              <a:gd name="connsiteY0" fmla="*/ 4436769 h 4436769"/>
              <a:gd name="connsiteX1" fmla="*/ 0 w 3530600"/>
              <a:gd name="connsiteY1" fmla="*/ 91950 h 4436769"/>
              <a:gd name="connsiteX2" fmla="*/ 1179470 w 3530600"/>
              <a:gd name="connsiteY2" fmla="*/ 176433 h 4436769"/>
              <a:gd name="connsiteX3" fmla="*/ 3530600 w 3530600"/>
              <a:gd name="connsiteY3" fmla="*/ 4430419 h 4436769"/>
              <a:gd name="connsiteX4" fmla="*/ 5068 w 3530600"/>
              <a:gd name="connsiteY4" fmla="*/ 4436769 h 4436769"/>
              <a:gd name="connsiteX0" fmla="*/ 5068 w 3530600"/>
              <a:gd name="connsiteY0" fmla="*/ 4344819 h 4344819"/>
              <a:gd name="connsiteX1" fmla="*/ 0 w 3530600"/>
              <a:gd name="connsiteY1" fmla="*/ 0 h 4344819"/>
              <a:gd name="connsiteX2" fmla="*/ 1179470 w 3530600"/>
              <a:gd name="connsiteY2" fmla="*/ 84483 h 4344819"/>
              <a:gd name="connsiteX3" fmla="*/ 3530600 w 3530600"/>
              <a:gd name="connsiteY3" fmla="*/ 4338469 h 4344819"/>
              <a:gd name="connsiteX4" fmla="*/ 5068 w 3530600"/>
              <a:gd name="connsiteY4" fmla="*/ 4344819 h 4344819"/>
              <a:gd name="connsiteX0" fmla="*/ 5068 w 3530600"/>
              <a:gd name="connsiteY0" fmla="*/ 4344819 h 4344819"/>
              <a:gd name="connsiteX1" fmla="*/ 0 w 3530600"/>
              <a:gd name="connsiteY1" fmla="*/ 0 h 4344819"/>
              <a:gd name="connsiteX2" fmla="*/ 1132604 w 3530600"/>
              <a:gd name="connsiteY2" fmla="*/ 1 h 4344819"/>
              <a:gd name="connsiteX3" fmla="*/ 3530600 w 3530600"/>
              <a:gd name="connsiteY3" fmla="*/ 4338469 h 4344819"/>
              <a:gd name="connsiteX4" fmla="*/ 5068 w 3530600"/>
              <a:gd name="connsiteY4" fmla="*/ 4344819 h 4344819"/>
              <a:gd name="connsiteX0" fmla="*/ 5068 w 3530600"/>
              <a:gd name="connsiteY0" fmla="*/ 4344819 h 4344819"/>
              <a:gd name="connsiteX1" fmla="*/ 0 w 3530600"/>
              <a:gd name="connsiteY1" fmla="*/ 0 h 4344819"/>
              <a:gd name="connsiteX2" fmla="*/ 2493606 w 3530600"/>
              <a:gd name="connsiteY2" fmla="*/ 108622 h 4344819"/>
              <a:gd name="connsiteX3" fmla="*/ 3530600 w 3530600"/>
              <a:gd name="connsiteY3" fmla="*/ 4338469 h 4344819"/>
              <a:gd name="connsiteX4" fmla="*/ 5068 w 3530600"/>
              <a:gd name="connsiteY4" fmla="*/ 4344819 h 4344819"/>
              <a:gd name="connsiteX0" fmla="*/ 5068 w 3530600"/>
              <a:gd name="connsiteY0" fmla="*/ 4356887 h 4356887"/>
              <a:gd name="connsiteX1" fmla="*/ 0 w 3530600"/>
              <a:gd name="connsiteY1" fmla="*/ 12068 h 4356887"/>
              <a:gd name="connsiteX2" fmla="*/ 1156622 w 3530600"/>
              <a:gd name="connsiteY2" fmla="*/ 0 h 4356887"/>
              <a:gd name="connsiteX3" fmla="*/ 3530600 w 3530600"/>
              <a:gd name="connsiteY3" fmla="*/ 4350537 h 4356887"/>
              <a:gd name="connsiteX4" fmla="*/ 5068 w 3530600"/>
              <a:gd name="connsiteY4" fmla="*/ 4356887 h 4356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30600" h="4356887">
                <a:moveTo>
                  <a:pt x="5068" y="4356887"/>
                </a:moveTo>
                <a:cubicBezTo>
                  <a:pt x="3379" y="2908614"/>
                  <a:pt x="1689" y="1460341"/>
                  <a:pt x="0" y="12068"/>
                </a:cubicBezTo>
                <a:lnTo>
                  <a:pt x="1156622" y="0"/>
                </a:lnTo>
                <a:lnTo>
                  <a:pt x="3530600" y="4350537"/>
                </a:lnTo>
                <a:lnTo>
                  <a:pt x="5068" y="4356887"/>
                </a:lnTo>
                <a:close/>
              </a:path>
            </a:pathLst>
          </a:custGeom>
          <a:solidFill>
            <a:srgbClr val="34D1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pic>
        <p:nvPicPr>
          <p:cNvPr id="42" name="Picture 6" descr="Online Cab Booking App Development | Get An App Like Bolt, Taxify">
            <a:extLst>
              <a:ext uri="{FF2B5EF4-FFF2-40B4-BE49-F238E27FC236}">
                <a16:creationId xmlns:a16="http://schemas.microsoft.com/office/drawing/2014/main" id="{D260AE1D-47CF-4A97-824C-65DA08C708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3950" y="2091058"/>
            <a:ext cx="7258050" cy="485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Oval 33">
            <a:extLst>
              <a:ext uri="{FF2B5EF4-FFF2-40B4-BE49-F238E27FC236}">
                <a16:creationId xmlns:a16="http://schemas.microsoft.com/office/drawing/2014/main" id="{4C0AEEAC-8B0A-47C9-BA2C-2C1FBEF22E2A}"/>
              </a:ext>
            </a:extLst>
          </p:cNvPr>
          <p:cNvSpPr/>
          <p:nvPr userDrawn="1"/>
        </p:nvSpPr>
        <p:spPr>
          <a:xfrm>
            <a:off x="5039138" y="2658356"/>
            <a:ext cx="1256516" cy="125651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0242" name="Picture 2" descr="BOLT LAUNCHES SERVICE ON WEB APP TO REACH MORE RIDERS - BrandCrunch Nigeria">
            <a:extLst>
              <a:ext uri="{FF2B5EF4-FFF2-40B4-BE49-F238E27FC236}">
                <a16:creationId xmlns:a16="http://schemas.microsoft.com/office/drawing/2014/main" id="{CA928616-CC0D-42DE-BFEA-F9E0582313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756853" cy="1670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2" descr="Logo&#10;&#10;Description automatically generated">
            <a:extLst>
              <a:ext uri="{FF2B5EF4-FFF2-40B4-BE49-F238E27FC236}">
                <a16:creationId xmlns:a16="http://schemas.microsoft.com/office/drawing/2014/main" id="{C3BCBED5-57D3-43E3-BEC1-28DDCECC6CF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3030" y="218913"/>
            <a:ext cx="2558470" cy="870747"/>
          </a:xfrm>
          <a:prstGeom prst="rect">
            <a:avLst/>
          </a:prstGeom>
        </p:spPr>
      </p:pic>
      <p:grpSp>
        <p:nvGrpSpPr>
          <p:cNvPr id="8" name="Google Shape;14;p2">
            <a:extLst>
              <a:ext uri="{FF2B5EF4-FFF2-40B4-BE49-F238E27FC236}">
                <a16:creationId xmlns:a16="http://schemas.microsoft.com/office/drawing/2014/main" id="{3ED30F93-A1A9-4B84-9E17-7488926DA88E}"/>
              </a:ext>
            </a:extLst>
          </p:cNvPr>
          <p:cNvGrpSpPr/>
          <p:nvPr userDrawn="1"/>
        </p:nvGrpSpPr>
        <p:grpSpPr>
          <a:xfrm>
            <a:off x="5301367" y="3024555"/>
            <a:ext cx="2871962" cy="614828"/>
            <a:chOff x="15867399" y="9251826"/>
            <a:chExt cx="1725920" cy="347510"/>
          </a:xfrm>
        </p:grpSpPr>
        <p:grpSp>
          <p:nvGrpSpPr>
            <p:cNvPr id="9" name="Google Shape;15;p2">
              <a:extLst>
                <a:ext uri="{FF2B5EF4-FFF2-40B4-BE49-F238E27FC236}">
                  <a16:creationId xmlns:a16="http://schemas.microsoft.com/office/drawing/2014/main" id="{F0B0EC5B-C1D0-4DB8-8F6D-5DAAA4C3D864}"/>
                </a:ext>
              </a:extLst>
            </p:cNvPr>
            <p:cNvGrpSpPr/>
            <p:nvPr/>
          </p:nvGrpSpPr>
          <p:grpSpPr>
            <a:xfrm>
              <a:off x="16500868" y="9262980"/>
              <a:ext cx="1092451" cy="336217"/>
              <a:chOff x="4940894" y="2609525"/>
              <a:chExt cx="5500759" cy="1694643"/>
            </a:xfrm>
          </p:grpSpPr>
          <p:sp>
            <p:nvSpPr>
              <p:cNvPr id="17" name="Google Shape;16;p2">
                <a:extLst>
                  <a:ext uri="{FF2B5EF4-FFF2-40B4-BE49-F238E27FC236}">
                    <a16:creationId xmlns:a16="http://schemas.microsoft.com/office/drawing/2014/main" id="{98B08C1C-E5D1-447D-B916-E8A3C9DBCA7E}"/>
                  </a:ext>
                </a:extLst>
              </p:cNvPr>
              <p:cNvSpPr/>
              <p:nvPr/>
            </p:nvSpPr>
            <p:spPr>
              <a:xfrm>
                <a:off x="4940894" y="2609525"/>
                <a:ext cx="1771710" cy="1664870"/>
              </a:xfrm>
              <a:custGeom>
                <a:avLst/>
                <a:gdLst/>
                <a:ahLst/>
                <a:cxnLst/>
                <a:rect l="l" t="t" r="r" b="b"/>
                <a:pathLst>
                  <a:path w="1771710" h="1664870" extrusionOk="0">
                    <a:moveTo>
                      <a:pt x="0" y="0"/>
                    </a:moveTo>
                    <a:lnTo>
                      <a:pt x="329405" y="0"/>
                    </a:lnTo>
                    <a:lnTo>
                      <a:pt x="889445" y="1013178"/>
                    </a:lnTo>
                    <a:lnTo>
                      <a:pt x="1449486" y="0"/>
                    </a:lnTo>
                    <a:lnTo>
                      <a:pt x="1771711" y="0"/>
                    </a:lnTo>
                    <a:lnTo>
                      <a:pt x="1771711" y="1664870"/>
                    </a:lnTo>
                    <a:lnTo>
                      <a:pt x="1503073" y="1664870"/>
                    </a:lnTo>
                    <a:lnTo>
                      <a:pt x="1503073" y="388983"/>
                    </a:lnTo>
                    <a:lnTo>
                      <a:pt x="1012031" y="1272559"/>
                    </a:lnTo>
                    <a:lnTo>
                      <a:pt x="760030" y="1272559"/>
                    </a:lnTo>
                    <a:lnTo>
                      <a:pt x="268988" y="388983"/>
                    </a:lnTo>
                    <a:lnTo>
                      <a:pt x="268988" y="1664870"/>
                    </a:lnTo>
                    <a:lnTo>
                      <a:pt x="351" y="1664870"/>
                    </a:lnTo>
                    <a:lnTo>
                      <a:pt x="351" y="0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defTabSz="609630">
                  <a:buClr>
                    <a:srgbClr val="000000"/>
                  </a:buClr>
                </a:pPr>
                <a:endParaRPr sz="1200" kern="0">
                  <a:solidFill>
                    <a:srgbClr val="000000"/>
                  </a:solidFill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18" name="Google Shape;17;p2">
                <a:extLst>
                  <a:ext uri="{FF2B5EF4-FFF2-40B4-BE49-F238E27FC236}">
                    <a16:creationId xmlns:a16="http://schemas.microsoft.com/office/drawing/2014/main" id="{565541E1-D77C-40ED-B760-DBEF9DFCDFD9}"/>
                  </a:ext>
                </a:extLst>
              </p:cNvPr>
              <p:cNvSpPr/>
              <p:nvPr/>
            </p:nvSpPr>
            <p:spPr>
              <a:xfrm>
                <a:off x="6951471" y="3004463"/>
                <a:ext cx="1178571" cy="1299705"/>
              </a:xfrm>
              <a:custGeom>
                <a:avLst/>
                <a:gdLst/>
                <a:ahLst/>
                <a:cxnLst/>
                <a:rect l="l" t="t" r="r" b="b"/>
                <a:pathLst>
                  <a:path w="1178571" h="1299705" extrusionOk="0">
                    <a:moveTo>
                      <a:pt x="627813" y="1299706"/>
                    </a:moveTo>
                    <a:cubicBezTo>
                      <a:pt x="503301" y="1299706"/>
                      <a:pt x="394025" y="1272209"/>
                      <a:pt x="299634" y="1217040"/>
                    </a:cubicBezTo>
                    <a:cubicBezTo>
                      <a:pt x="205243" y="1161871"/>
                      <a:pt x="131692" y="1085686"/>
                      <a:pt x="79155" y="988134"/>
                    </a:cubicBezTo>
                    <a:cubicBezTo>
                      <a:pt x="26444" y="890581"/>
                      <a:pt x="0" y="778843"/>
                      <a:pt x="0" y="652743"/>
                    </a:cubicBezTo>
                    <a:cubicBezTo>
                      <a:pt x="0" y="525066"/>
                      <a:pt x="25743" y="412102"/>
                      <a:pt x="77229" y="313849"/>
                    </a:cubicBezTo>
                    <a:cubicBezTo>
                      <a:pt x="128715" y="215596"/>
                      <a:pt x="200340" y="138710"/>
                      <a:pt x="291929" y="83191"/>
                    </a:cubicBezTo>
                    <a:cubicBezTo>
                      <a:pt x="383517" y="27672"/>
                      <a:pt x="488766" y="0"/>
                      <a:pt x="607674" y="0"/>
                    </a:cubicBezTo>
                    <a:cubicBezTo>
                      <a:pt x="725706" y="0"/>
                      <a:pt x="827452" y="28022"/>
                      <a:pt x="912737" y="83892"/>
                    </a:cubicBezTo>
                    <a:cubicBezTo>
                      <a:pt x="998021" y="139761"/>
                      <a:pt x="1063516" y="218048"/>
                      <a:pt x="1109574" y="318753"/>
                    </a:cubicBezTo>
                    <a:cubicBezTo>
                      <a:pt x="1155455" y="419458"/>
                      <a:pt x="1178572" y="537501"/>
                      <a:pt x="1178572" y="673059"/>
                    </a:cubicBezTo>
                    <a:lnTo>
                      <a:pt x="1178572" y="746792"/>
                    </a:lnTo>
                    <a:lnTo>
                      <a:pt x="266536" y="746792"/>
                    </a:lnTo>
                    <a:cubicBezTo>
                      <a:pt x="283173" y="848373"/>
                      <a:pt x="324151" y="928236"/>
                      <a:pt x="389647" y="986382"/>
                    </a:cubicBezTo>
                    <a:cubicBezTo>
                      <a:pt x="454967" y="1044703"/>
                      <a:pt x="537625" y="1073776"/>
                      <a:pt x="637620" y="1073776"/>
                    </a:cubicBezTo>
                    <a:cubicBezTo>
                      <a:pt x="717650" y="1073776"/>
                      <a:pt x="786649" y="1061867"/>
                      <a:pt x="844439" y="1038048"/>
                    </a:cubicBezTo>
                    <a:cubicBezTo>
                      <a:pt x="902229" y="1014229"/>
                      <a:pt x="956517" y="978151"/>
                      <a:pt x="1007303" y="929812"/>
                    </a:cubicBezTo>
                    <a:lnTo>
                      <a:pt x="1150027" y="1104601"/>
                    </a:lnTo>
                    <a:cubicBezTo>
                      <a:pt x="1008003" y="1234729"/>
                      <a:pt x="833932" y="1299706"/>
                      <a:pt x="627813" y="1299706"/>
                    </a:cubicBezTo>
                    <a:close/>
                    <a:moveTo>
                      <a:pt x="824125" y="312098"/>
                    </a:moveTo>
                    <a:cubicBezTo>
                      <a:pt x="767910" y="254652"/>
                      <a:pt x="694184" y="225929"/>
                      <a:pt x="602945" y="225929"/>
                    </a:cubicBezTo>
                    <a:cubicBezTo>
                      <a:pt x="514159" y="225929"/>
                      <a:pt x="439907" y="255353"/>
                      <a:pt x="380015" y="313849"/>
                    </a:cubicBezTo>
                    <a:cubicBezTo>
                      <a:pt x="320123" y="372521"/>
                      <a:pt x="282297" y="451333"/>
                      <a:pt x="266536" y="550462"/>
                    </a:cubicBezTo>
                    <a:lnTo>
                      <a:pt x="920442" y="550462"/>
                    </a:lnTo>
                    <a:cubicBezTo>
                      <a:pt x="912386" y="449056"/>
                      <a:pt x="880339" y="369543"/>
                      <a:pt x="824125" y="312098"/>
                    </a:cubicBez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defTabSz="609630">
                  <a:buClr>
                    <a:srgbClr val="000000"/>
                  </a:buClr>
                </a:pPr>
                <a:endParaRPr sz="1200" kern="0">
                  <a:solidFill>
                    <a:srgbClr val="000000"/>
                  </a:solidFill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19" name="Google Shape;18;p2">
                <a:extLst>
                  <a:ext uri="{FF2B5EF4-FFF2-40B4-BE49-F238E27FC236}">
                    <a16:creationId xmlns:a16="http://schemas.microsoft.com/office/drawing/2014/main" id="{67C9D099-EC8B-4D0E-B2A0-AF72C0FBA8E4}"/>
                  </a:ext>
                </a:extLst>
              </p:cNvPr>
              <p:cNvSpPr/>
              <p:nvPr/>
            </p:nvSpPr>
            <p:spPr>
              <a:xfrm>
                <a:off x="8208497" y="2670123"/>
                <a:ext cx="882090" cy="1631418"/>
              </a:xfrm>
              <a:custGeom>
                <a:avLst/>
                <a:gdLst/>
                <a:ahLst/>
                <a:cxnLst/>
                <a:rect l="l" t="t" r="r" b="b"/>
                <a:pathLst>
                  <a:path w="882090" h="1631418" extrusionOk="0">
                    <a:moveTo>
                      <a:pt x="247273" y="583913"/>
                    </a:moveTo>
                    <a:lnTo>
                      <a:pt x="0" y="583913"/>
                    </a:lnTo>
                    <a:lnTo>
                      <a:pt x="0" y="363939"/>
                    </a:lnTo>
                    <a:lnTo>
                      <a:pt x="247273" y="363939"/>
                    </a:lnTo>
                    <a:lnTo>
                      <a:pt x="247273" y="0"/>
                    </a:lnTo>
                    <a:lnTo>
                      <a:pt x="506453" y="0"/>
                    </a:lnTo>
                    <a:lnTo>
                      <a:pt x="506453" y="363939"/>
                    </a:lnTo>
                    <a:lnTo>
                      <a:pt x="882090" y="363939"/>
                    </a:lnTo>
                    <a:lnTo>
                      <a:pt x="882090" y="583913"/>
                    </a:lnTo>
                    <a:lnTo>
                      <a:pt x="506278" y="583913"/>
                    </a:lnTo>
                    <a:lnTo>
                      <a:pt x="506278" y="1141555"/>
                    </a:lnTo>
                    <a:cubicBezTo>
                      <a:pt x="506278" y="1234379"/>
                      <a:pt x="522214" y="1300581"/>
                      <a:pt x="553912" y="1340163"/>
                    </a:cubicBezTo>
                    <a:cubicBezTo>
                      <a:pt x="585609" y="1379744"/>
                      <a:pt x="639897" y="1399710"/>
                      <a:pt x="716775" y="1399535"/>
                    </a:cubicBezTo>
                    <a:cubicBezTo>
                      <a:pt x="750924" y="1399535"/>
                      <a:pt x="779819" y="1398134"/>
                      <a:pt x="803636" y="1395332"/>
                    </a:cubicBezTo>
                    <a:cubicBezTo>
                      <a:pt x="827452" y="1392529"/>
                      <a:pt x="853546" y="1388851"/>
                      <a:pt x="882090" y="1383948"/>
                    </a:cubicBezTo>
                    <a:lnTo>
                      <a:pt x="882090" y="1601645"/>
                    </a:lnTo>
                    <a:cubicBezTo>
                      <a:pt x="849517" y="1611103"/>
                      <a:pt x="816420" y="1618283"/>
                      <a:pt x="782796" y="1623012"/>
                    </a:cubicBezTo>
                    <a:cubicBezTo>
                      <a:pt x="744444" y="1628616"/>
                      <a:pt x="705742" y="1631419"/>
                      <a:pt x="666865" y="1631419"/>
                    </a:cubicBezTo>
                    <a:cubicBezTo>
                      <a:pt x="387020" y="1631419"/>
                      <a:pt x="247097" y="1478347"/>
                      <a:pt x="247097" y="1172380"/>
                    </a:cubicBezTo>
                    <a:lnTo>
                      <a:pt x="247273" y="583913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defTabSz="609630">
                  <a:buClr>
                    <a:srgbClr val="000000"/>
                  </a:buClr>
                </a:pPr>
                <a:endParaRPr sz="1200" kern="0">
                  <a:solidFill>
                    <a:srgbClr val="000000"/>
                  </a:solidFill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  <p:sp>
            <p:nvSpPr>
              <p:cNvPr id="20" name="Google Shape;19;p2">
                <a:extLst>
                  <a:ext uri="{FF2B5EF4-FFF2-40B4-BE49-F238E27FC236}">
                    <a16:creationId xmlns:a16="http://schemas.microsoft.com/office/drawing/2014/main" id="{1B0F6C3C-50F7-43D1-BE62-3A17CF9C0BF2}"/>
                  </a:ext>
                </a:extLst>
              </p:cNvPr>
              <p:cNvSpPr/>
              <p:nvPr/>
            </p:nvSpPr>
            <p:spPr>
              <a:xfrm>
                <a:off x="9214573" y="3004463"/>
                <a:ext cx="1227080" cy="1299705"/>
              </a:xfrm>
              <a:custGeom>
                <a:avLst/>
                <a:gdLst/>
                <a:ahLst/>
                <a:cxnLst/>
                <a:rect l="l" t="t" r="r" b="b"/>
                <a:pathLst>
                  <a:path w="1227080" h="1299705" extrusionOk="0">
                    <a:moveTo>
                      <a:pt x="1226906" y="1269932"/>
                    </a:moveTo>
                    <a:lnTo>
                      <a:pt x="972454" y="1269932"/>
                    </a:lnTo>
                    <a:lnTo>
                      <a:pt x="972454" y="1096369"/>
                    </a:lnTo>
                    <a:cubicBezTo>
                      <a:pt x="927272" y="1161346"/>
                      <a:pt x="869832" y="1211611"/>
                      <a:pt x="800134" y="1246814"/>
                    </a:cubicBezTo>
                    <a:cubicBezTo>
                      <a:pt x="730434" y="1282017"/>
                      <a:pt x="651104" y="1299706"/>
                      <a:pt x="562317" y="1299706"/>
                    </a:cubicBezTo>
                    <a:cubicBezTo>
                      <a:pt x="452866" y="1299706"/>
                      <a:pt x="356024" y="1271683"/>
                      <a:pt x="271615" y="1215814"/>
                    </a:cubicBezTo>
                    <a:cubicBezTo>
                      <a:pt x="187206" y="1159945"/>
                      <a:pt x="120834" y="1083059"/>
                      <a:pt x="72501" y="985156"/>
                    </a:cubicBezTo>
                    <a:cubicBezTo>
                      <a:pt x="24167" y="887253"/>
                      <a:pt x="0" y="775340"/>
                      <a:pt x="0" y="649240"/>
                    </a:cubicBezTo>
                    <a:cubicBezTo>
                      <a:pt x="0" y="522439"/>
                      <a:pt x="24517" y="410175"/>
                      <a:pt x="73727" y="312623"/>
                    </a:cubicBezTo>
                    <a:cubicBezTo>
                      <a:pt x="122936" y="215071"/>
                      <a:pt x="190883" y="138710"/>
                      <a:pt x="277569" y="83191"/>
                    </a:cubicBezTo>
                    <a:cubicBezTo>
                      <a:pt x="364429" y="27672"/>
                      <a:pt x="464074" y="0"/>
                      <a:pt x="576678" y="0"/>
                    </a:cubicBezTo>
                    <a:cubicBezTo>
                      <a:pt x="661437" y="0"/>
                      <a:pt x="737615" y="16463"/>
                      <a:pt x="805037" y="49389"/>
                    </a:cubicBezTo>
                    <a:cubicBezTo>
                      <a:pt x="871583" y="81615"/>
                      <a:pt x="929023" y="129603"/>
                      <a:pt x="972629" y="189150"/>
                    </a:cubicBezTo>
                    <a:lnTo>
                      <a:pt x="972629" y="29774"/>
                    </a:lnTo>
                    <a:lnTo>
                      <a:pt x="1227081" y="29774"/>
                    </a:lnTo>
                    <a:lnTo>
                      <a:pt x="1227081" y="1269932"/>
                    </a:lnTo>
                    <a:close/>
                    <a:moveTo>
                      <a:pt x="967550" y="463768"/>
                    </a:moveTo>
                    <a:cubicBezTo>
                      <a:pt x="939705" y="393187"/>
                      <a:pt x="895925" y="337493"/>
                      <a:pt x="836208" y="296685"/>
                    </a:cubicBezTo>
                    <a:cubicBezTo>
                      <a:pt x="776317" y="255878"/>
                      <a:pt x="707144" y="235387"/>
                      <a:pt x="628688" y="235387"/>
                    </a:cubicBezTo>
                    <a:cubicBezTo>
                      <a:pt x="517661" y="235387"/>
                      <a:pt x="429400" y="272691"/>
                      <a:pt x="363554" y="347125"/>
                    </a:cubicBezTo>
                    <a:cubicBezTo>
                      <a:pt x="297708" y="421559"/>
                      <a:pt x="264785" y="522264"/>
                      <a:pt x="264785" y="649240"/>
                    </a:cubicBezTo>
                    <a:cubicBezTo>
                      <a:pt x="264785" y="776916"/>
                      <a:pt x="296482" y="877971"/>
                      <a:pt x="359876" y="952405"/>
                    </a:cubicBezTo>
                    <a:cubicBezTo>
                      <a:pt x="423270" y="1027014"/>
                      <a:pt x="509256" y="1064144"/>
                      <a:pt x="617831" y="1064144"/>
                    </a:cubicBezTo>
                    <a:cubicBezTo>
                      <a:pt x="697862" y="1064144"/>
                      <a:pt x="769137" y="1043477"/>
                      <a:pt x="831830" y="1002320"/>
                    </a:cubicBezTo>
                    <a:cubicBezTo>
                      <a:pt x="894524" y="961162"/>
                      <a:pt x="939705" y="905643"/>
                      <a:pt x="967375" y="835763"/>
                    </a:cubicBezTo>
                    <a:lnTo>
                      <a:pt x="967550" y="463768"/>
                    </a:lnTo>
                    <a:close/>
                  </a:path>
                </a:pathLst>
              </a:custGeom>
              <a:solidFill>
                <a:srgbClr val="1C2B33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defTabSz="609630">
                  <a:buClr>
                    <a:srgbClr val="000000"/>
                  </a:buClr>
                </a:pPr>
                <a:endParaRPr sz="1200" kern="0">
                  <a:solidFill>
                    <a:srgbClr val="000000"/>
                  </a:solidFill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</p:grpSp>
        <p:grpSp>
          <p:nvGrpSpPr>
            <p:cNvPr id="10" name="Google Shape;20;p2">
              <a:extLst>
                <a:ext uri="{FF2B5EF4-FFF2-40B4-BE49-F238E27FC236}">
                  <a16:creationId xmlns:a16="http://schemas.microsoft.com/office/drawing/2014/main" id="{404EF56D-7BC7-4506-A5F7-C690ABC6E4EC}"/>
                </a:ext>
              </a:extLst>
            </p:cNvPr>
            <p:cNvGrpSpPr/>
            <p:nvPr/>
          </p:nvGrpSpPr>
          <p:grpSpPr>
            <a:xfrm>
              <a:off x="15867399" y="9251826"/>
              <a:ext cx="523393" cy="347510"/>
              <a:chOff x="1751220" y="2553305"/>
              <a:chExt cx="2635412" cy="1751564"/>
            </a:xfrm>
          </p:grpSpPr>
          <p:grpSp>
            <p:nvGrpSpPr>
              <p:cNvPr id="11" name="Google Shape;21;p2">
                <a:extLst>
                  <a:ext uri="{FF2B5EF4-FFF2-40B4-BE49-F238E27FC236}">
                    <a16:creationId xmlns:a16="http://schemas.microsoft.com/office/drawing/2014/main" id="{00DB188F-FFFC-4875-B6C0-5D47811D0D45}"/>
                  </a:ext>
                </a:extLst>
              </p:cNvPr>
              <p:cNvGrpSpPr/>
              <p:nvPr/>
            </p:nvGrpSpPr>
            <p:grpSpPr>
              <a:xfrm>
                <a:off x="1751220" y="2553305"/>
                <a:ext cx="2635412" cy="1751564"/>
                <a:chOff x="1751220" y="2553305"/>
                <a:chExt cx="2635412" cy="1751564"/>
              </a:xfrm>
            </p:grpSpPr>
            <p:sp>
              <p:nvSpPr>
                <p:cNvPr id="13" name="Google Shape;22;p2">
                  <a:extLst>
                    <a:ext uri="{FF2B5EF4-FFF2-40B4-BE49-F238E27FC236}">
                      <a16:creationId xmlns:a16="http://schemas.microsoft.com/office/drawing/2014/main" id="{D87FE2BC-F5B3-4F0D-8A16-4B5A856134CF}"/>
                    </a:ext>
                  </a:extLst>
                </p:cNvPr>
                <p:cNvSpPr/>
                <p:nvPr/>
              </p:nvSpPr>
              <p:spPr>
                <a:xfrm>
                  <a:off x="3069540" y="3101490"/>
                  <a:ext cx="1317092" cy="12033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7092" h="1203379" extrusionOk="0">
                      <a:moveTo>
                        <a:pt x="1277166" y="226980"/>
                      </a:moveTo>
                      <a:lnTo>
                        <a:pt x="1020962" y="226980"/>
                      </a:lnTo>
                      <a:cubicBezTo>
                        <a:pt x="1049682" y="343622"/>
                        <a:pt x="1065618" y="472875"/>
                        <a:pt x="1065618" y="608958"/>
                      </a:cubicBezTo>
                      <a:cubicBezTo>
                        <a:pt x="1065618" y="804588"/>
                        <a:pt x="1001523" y="918253"/>
                        <a:pt x="868780" y="918253"/>
                      </a:cubicBezTo>
                      <a:cubicBezTo>
                        <a:pt x="741467" y="918253"/>
                        <a:pt x="680700" y="834187"/>
                        <a:pt x="439031" y="445378"/>
                      </a:cubicBezTo>
                      <a:lnTo>
                        <a:pt x="284573" y="187749"/>
                      </a:lnTo>
                      <a:cubicBezTo>
                        <a:pt x="242719" y="119795"/>
                        <a:pt x="202616" y="57095"/>
                        <a:pt x="164089" y="0"/>
                      </a:cubicBezTo>
                      <a:lnTo>
                        <a:pt x="21365" y="0"/>
                      </a:lnTo>
                      <a:lnTo>
                        <a:pt x="0" y="277420"/>
                      </a:lnTo>
                      <a:cubicBezTo>
                        <a:pt x="27669" y="322080"/>
                        <a:pt x="56915" y="370244"/>
                        <a:pt x="87561" y="421910"/>
                      </a:cubicBezTo>
                      <a:lnTo>
                        <a:pt x="216801" y="639257"/>
                      </a:lnTo>
                      <a:cubicBezTo>
                        <a:pt x="468452" y="1060466"/>
                        <a:pt x="608724" y="1203379"/>
                        <a:pt x="863002" y="1203379"/>
                      </a:cubicBezTo>
                      <a:cubicBezTo>
                        <a:pt x="1154755" y="1203379"/>
                        <a:pt x="1317093" y="967117"/>
                        <a:pt x="1317093" y="589868"/>
                      </a:cubicBezTo>
                      <a:cubicBezTo>
                        <a:pt x="1316918" y="463417"/>
                        <a:pt x="1302908" y="341346"/>
                        <a:pt x="1277166" y="226980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64E0"/>
                    </a:gs>
                    <a:gs pos="13000">
                      <a:srgbClr val="0064E0"/>
                    </a:gs>
                    <a:gs pos="82000">
                      <a:srgbClr val="2C7FF4"/>
                    </a:gs>
                    <a:gs pos="100000">
                      <a:srgbClr val="2C7FF4"/>
                    </a:gs>
                  </a:gsLst>
                  <a:lin ang="0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defTabSz="609630">
                    <a:buClr>
                      <a:srgbClr val="000000"/>
                    </a:buClr>
                  </a:pPr>
                  <a:endParaRPr sz="1200" kern="0">
                    <a:solidFill>
                      <a:srgbClr val="000000"/>
                    </a:solidFill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14" name="Google Shape;23;p2">
                  <a:extLst>
                    <a:ext uri="{FF2B5EF4-FFF2-40B4-BE49-F238E27FC236}">
                      <a16:creationId xmlns:a16="http://schemas.microsoft.com/office/drawing/2014/main" id="{5E142204-B186-45DD-85DB-BA3642B17AB0}"/>
                    </a:ext>
                  </a:extLst>
                </p:cNvPr>
                <p:cNvSpPr/>
                <p:nvPr/>
              </p:nvSpPr>
              <p:spPr>
                <a:xfrm>
                  <a:off x="3091079" y="2553305"/>
                  <a:ext cx="1255800" cy="775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5800" h="775164" extrusionOk="0">
                      <a:moveTo>
                        <a:pt x="533422" y="225929"/>
                      </a:moveTo>
                      <a:cubicBezTo>
                        <a:pt x="741992" y="225929"/>
                        <a:pt x="919916" y="451683"/>
                        <a:pt x="999597" y="775165"/>
                      </a:cubicBezTo>
                      <a:lnTo>
                        <a:pt x="1255801" y="775165"/>
                      </a:lnTo>
                      <a:cubicBezTo>
                        <a:pt x="1155455" y="329086"/>
                        <a:pt x="876311" y="0"/>
                        <a:pt x="551635" y="0"/>
                      </a:cubicBezTo>
                      <a:cubicBezTo>
                        <a:pt x="335534" y="0"/>
                        <a:pt x="166716" y="162704"/>
                        <a:pt x="13660" y="369543"/>
                      </a:cubicBezTo>
                      <a:lnTo>
                        <a:pt x="0" y="548010"/>
                      </a:lnTo>
                      <a:lnTo>
                        <a:pt x="142725" y="548010"/>
                      </a:lnTo>
                      <a:cubicBezTo>
                        <a:pt x="281772" y="332939"/>
                        <a:pt x="396652" y="225929"/>
                        <a:pt x="533422" y="225929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2C7FF4"/>
                    </a:gs>
                    <a:gs pos="13000">
                      <a:srgbClr val="2C7FF4"/>
                    </a:gs>
                    <a:gs pos="100000">
                      <a:srgbClr val="128DFF"/>
                    </a:gs>
                  </a:gsLst>
                  <a:lin ang="10800025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defTabSz="609630">
                    <a:buClr>
                      <a:srgbClr val="000000"/>
                    </a:buClr>
                  </a:pPr>
                  <a:endParaRPr sz="1200" kern="0">
                    <a:solidFill>
                      <a:srgbClr val="000000"/>
                    </a:solidFill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15" name="Google Shape;24;p2">
                  <a:extLst>
                    <a:ext uri="{FF2B5EF4-FFF2-40B4-BE49-F238E27FC236}">
                      <a16:creationId xmlns:a16="http://schemas.microsoft.com/office/drawing/2014/main" id="{715A5515-D913-4B58-8443-6E7B9EC562F7}"/>
                    </a:ext>
                  </a:extLst>
                </p:cNvPr>
                <p:cNvSpPr/>
                <p:nvPr/>
              </p:nvSpPr>
              <p:spPr>
                <a:xfrm>
                  <a:off x="1751220" y="2553305"/>
                  <a:ext cx="1353343" cy="1751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53343" h="1751388" extrusionOk="0">
                      <a:moveTo>
                        <a:pt x="757228" y="0"/>
                      </a:moveTo>
                      <a:cubicBezTo>
                        <a:pt x="328529" y="0"/>
                        <a:pt x="0" y="557992"/>
                        <a:pt x="0" y="1148736"/>
                      </a:cubicBezTo>
                      <a:cubicBezTo>
                        <a:pt x="0" y="1518279"/>
                        <a:pt x="178800" y="1751389"/>
                        <a:pt x="478258" y="1751389"/>
                      </a:cubicBezTo>
                      <a:cubicBezTo>
                        <a:pt x="693834" y="1751389"/>
                        <a:pt x="848817" y="1649808"/>
                        <a:pt x="1124459" y="1168001"/>
                      </a:cubicBezTo>
                      <a:cubicBezTo>
                        <a:pt x="1124459" y="1168001"/>
                        <a:pt x="1239339" y="965190"/>
                        <a:pt x="1318319" y="825430"/>
                      </a:cubicBezTo>
                      <a:lnTo>
                        <a:pt x="1318319" y="825430"/>
                      </a:lnTo>
                      <a:lnTo>
                        <a:pt x="1353344" y="369543"/>
                      </a:lnTo>
                      <a:cubicBezTo>
                        <a:pt x="1143197" y="101931"/>
                        <a:pt x="967550" y="0"/>
                        <a:pt x="757228" y="0"/>
                      </a:cubicBezTo>
                      <a:close/>
                      <a:moveTo>
                        <a:pt x="914312" y="1037523"/>
                      </a:moveTo>
                      <a:cubicBezTo>
                        <a:pt x="690857" y="1387800"/>
                        <a:pt x="613628" y="1466263"/>
                        <a:pt x="489116" y="1466263"/>
                      </a:cubicBezTo>
                      <a:cubicBezTo>
                        <a:pt x="361102" y="1466263"/>
                        <a:pt x="284924" y="1353824"/>
                        <a:pt x="284924" y="1153465"/>
                      </a:cubicBezTo>
                      <a:cubicBezTo>
                        <a:pt x="284924" y="724725"/>
                        <a:pt x="498748" y="286177"/>
                        <a:pt x="753550" y="286177"/>
                      </a:cubicBezTo>
                      <a:cubicBezTo>
                        <a:pt x="891547" y="286177"/>
                        <a:pt x="1006952" y="365865"/>
                        <a:pt x="1183475" y="618766"/>
                      </a:cubicBezTo>
                      <a:cubicBezTo>
                        <a:pt x="1015883" y="876220"/>
                        <a:pt x="914312" y="1037523"/>
                        <a:pt x="914312" y="1037523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64E0"/>
                    </a:gs>
                    <a:gs pos="36000">
                      <a:srgbClr val="0064E0"/>
                    </a:gs>
                    <a:gs pos="78000">
                      <a:srgbClr val="128DFF"/>
                    </a:gs>
                    <a:gs pos="100000">
                      <a:srgbClr val="128DFF"/>
                    </a:gs>
                  </a:gsLst>
                  <a:lin ang="1801379" scaled="0"/>
                </a:gra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defTabSz="609630">
                    <a:buClr>
                      <a:srgbClr val="000000"/>
                    </a:buClr>
                  </a:pPr>
                  <a:endParaRPr sz="1200" kern="0">
                    <a:solidFill>
                      <a:srgbClr val="000000"/>
                    </a:solidFill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  <p:sp>
              <p:nvSpPr>
                <p:cNvPr id="16" name="Google Shape;25;p2">
                  <a:extLst>
                    <a:ext uri="{FF2B5EF4-FFF2-40B4-BE49-F238E27FC236}">
                      <a16:creationId xmlns:a16="http://schemas.microsoft.com/office/drawing/2014/main" id="{2A57DD71-45CD-4589-B497-5F96979306E0}"/>
                    </a:ext>
                  </a:extLst>
                </p:cNvPr>
                <p:cNvSpPr/>
                <p:nvPr/>
              </p:nvSpPr>
              <p:spPr>
                <a:xfrm>
                  <a:off x="2504771" y="2553305"/>
                  <a:ext cx="849517" cy="10023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9517" h="1002319" extrusionOk="0">
                      <a:moveTo>
                        <a:pt x="849517" y="735758"/>
                      </a:moveTo>
                      <a:cubicBezTo>
                        <a:pt x="514509" y="190901"/>
                        <a:pt x="291578" y="0"/>
                        <a:pt x="3678" y="0"/>
                      </a:cubicBezTo>
                      <a:lnTo>
                        <a:pt x="0" y="286177"/>
                      </a:lnTo>
                      <a:cubicBezTo>
                        <a:pt x="188431" y="286177"/>
                        <a:pt x="334483" y="434695"/>
                        <a:pt x="652155" y="969744"/>
                      </a:cubicBezTo>
                      <a:lnTo>
                        <a:pt x="671593" y="1002320"/>
                      </a:lnTo>
                      <a:lnTo>
                        <a:pt x="849517" y="735758"/>
                      </a:lnTo>
                      <a:close/>
                    </a:path>
                  </a:pathLst>
                </a:custGeom>
                <a:solidFill>
                  <a:srgbClr val="0064E0"/>
                </a:solidFill>
                <a:ln>
                  <a:noFill/>
                </a:ln>
              </p:spPr>
              <p:txBody>
                <a:bodyPr spcFirstLastPara="1" wrap="square" lIns="60950" tIns="30467" rIns="60950" bIns="30467" anchor="ctr" anchorCtr="0">
                  <a:noAutofit/>
                </a:bodyPr>
                <a:lstStyle/>
                <a:p>
                  <a:pPr defTabSz="609630">
                    <a:buClr>
                      <a:srgbClr val="000000"/>
                    </a:buClr>
                  </a:pPr>
                  <a:endParaRPr sz="1200" kern="0">
                    <a:solidFill>
                      <a:srgbClr val="000000"/>
                    </a:solidFill>
                    <a:latin typeface="Optimistic Text"/>
                    <a:ea typeface="Optimistic Text"/>
                    <a:cs typeface="Optimistic Text"/>
                    <a:sym typeface="Optimistic Text"/>
                  </a:endParaRPr>
                </a:p>
              </p:txBody>
            </p:sp>
          </p:grpSp>
          <p:sp>
            <p:nvSpPr>
              <p:cNvPr id="12" name="Google Shape;26;p2">
                <a:extLst>
                  <a:ext uri="{FF2B5EF4-FFF2-40B4-BE49-F238E27FC236}">
                    <a16:creationId xmlns:a16="http://schemas.microsoft.com/office/drawing/2014/main" id="{1DA65350-3E3F-4524-94BE-6D8469BDF9C7}"/>
                  </a:ext>
                </a:extLst>
              </p:cNvPr>
              <p:cNvSpPr/>
              <p:nvPr/>
            </p:nvSpPr>
            <p:spPr>
              <a:xfrm>
                <a:off x="4034812" y="3064536"/>
                <a:ext cx="329229" cy="361311"/>
              </a:xfrm>
              <a:custGeom>
                <a:avLst/>
                <a:gdLst/>
                <a:ahLst/>
                <a:cxnLst/>
                <a:rect l="l" t="t" r="r" b="b"/>
                <a:pathLst>
                  <a:path w="329229" h="361311" extrusionOk="0">
                    <a:moveTo>
                      <a:pt x="311893" y="263934"/>
                    </a:moveTo>
                    <a:lnTo>
                      <a:pt x="311893" y="263934"/>
                    </a:lnTo>
                    <a:cubicBezTo>
                      <a:pt x="291053" y="170060"/>
                      <a:pt x="261983" y="81440"/>
                      <a:pt x="226258" y="0"/>
                    </a:cubicBezTo>
                    <a:lnTo>
                      <a:pt x="0" y="90547"/>
                    </a:lnTo>
                    <a:cubicBezTo>
                      <a:pt x="21890" y="144139"/>
                      <a:pt x="40628" y="202285"/>
                      <a:pt x="55864" y="263934"/>
                    </a:cubicBezTo>
                    <a:lnTo>
                      <a:pt x="55689" y="263934"/>
                    </a:lnTo>
                    <a:cubicBezTo>
                      <a:pt x="63394" y="295459"/>
                      <a:pt x="70224" y="328035"/>
                      <a:pt x="76003" y="361311"/>
                    </a:cubicBezTo>
                    <a:lnTo>
                      <a:pt x="329230" y="353080"/>
                    </a:lnTo>
                    <a:cubicBezTo>
                      <a:pt x="324326" y="322781"/>
                      <a:pt x="318547" y="293183"/>
                      <a:pt x="311893" y="263934"/>
                    </a:cubicBezTo>
                    <a:close/>
                  </a:path>
                </a:pathLst>
              </a:custGeom>
              <a:solidFill>
                <a:srgbClr val="2C7FF4"/>
              </a:solidFill>
              <a:ln>
                <a:noFill/>
              </a:ln>
            </p:spPr>
            <p:txBody>
              <a:bodyPr spcFirstLastPara="1" wrap="square" lIns="60950" tIns="30467" rIns="60950" bIns="30467" anchor="ctr" anchorCtr="0">
                <a:noAutofit/>
              </a:bodyPr>
              <a:lstStyle/>
              <a:p>
                <a:pPr defTabSz="609630">
                  <a:buClr>
                    <a:srgbClr val="000000"/>
                  </a:buClr>
                </a:pPr>
                <a:endParaRPr sz="1200" kern="0">
                  <a:solidFill>
                    <a:srgbClr val="000000"/>
                  </a:solidFill>
                  <a:latin typeface="Optimistic Text"/>
                  <a:ea typeface="Optimistic Text"/>
                  <a:cs typeface="Optimistic Text"/>
                  <a:sym typeface="Optimistic Tex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76899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19141" y="6602667"/>
            <a:ext cx="581906" cy="365125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lang="en-US" b="1" smtClean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37377" y="164815"/>
            <a:ext cx="10181962" cy="781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6F83D20-4F50-4713-9AD7-08B4A11C9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37377" y="6602667"/>
            <a:ext cx="2558540" cy="365125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lang="en-US" b="1" smtClean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algn="l"/>
            <a:r>
              <a:rPr lang="en-US"/>
              <a:t>© Analytic Edge Proprietary and Confidentia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182D1E7-33C8-4911-97EF-E269400E6501}"/>
              </a:ext>
            </a:extLst>
          </p:cNvPr>
          <p:cNvGrpSpPr/>
          <p:nvPr/>
        </p:nvGrpSpPr>
        <p:grpSpPr>
          <a:xfrm>
            <a:off x="11085326" y="137746"/>
            <a:ext cx="1087187" cy="883335"/>
            <a:chOff x="10977375" y="137745"/>
            <a:chExt cx="1166440" cy="957326"/>
          </a:xfrm>
        </p:grpSpPr>
        <p:pic>
          <p:nvPicPr>
            <p:cNvPr id="9" name="Picture 2" descr="\\SONY\Users\Nivas\Desktop\analytic-edge\logo.png">
              <a:extLst>
                <a:ext uri="{FF2B5EF4-FFF2-40B4-BE49-F238E27FC236}">
                  <a16:creationId xmlns:a16="http://schemas.microsoft.com/office/drawing/2014/main" id="{70ECF28D-9ED1-4130-810F-BF36334F331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0B9BE10-F4BE-4239-A1CD-D9B41EFC9C45}"/>
                </a:ext>
              </a:extLst>
            </p:cNvPr>
            <p:cNvGrpSpPr/>
            <p:nvPr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12" name="Rectangle 1">
                <a:extLst>
                  <a:ext uri="{FF2B5EF4-FFF2-40B4-BE49-F238E27FC236}">
                    <a16:creationId xmlns:a16="http://schemas.microsoft.com/office/drawing/2014/main" id="{A97356E1-CA4A-4D2D-A662-AE2A1325E852}"/>
                  </a:ext>
                </a:extLst>
              </p:cNvPr>
              <p:cNvSpPr/>
              <p:nvPr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0"/>
              </a:p>
            </p:txBody>
          </p: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7CA855A-4EAE-4495-BF53-D70498E46EF8}"/>
                  </a:ext>
                </a:extLst>
              </p:cNvPr>
              <p:cNvGrpSpPr/>
              <p:nvPr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14" name="Freeform 10">
                  <a:extLst>
                    <a:ext uri="{FF2B5EF4-FFF2-40B4-BE49-F238E27FC236}">
                      <a16:creationId xmlns:a16="http://schemas.microsoft.com/office/drawing/2014/main" id="{09012B7E-D505-41CD-A9DB-A7AD80253D7A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" name="Freeform 11">
                  <a:extLst>
                    <a:ext uri="{FF2B5EF4-FFF2-40B4-BE49-F238E27FC236}">
                      <a16:creationId xmlns:a16="http://schemas.microsoft.com/office/drawing/2014/main" id="{CF712DE5-4B06-4C42-9A91-EF745F6CA988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F44FF6B-940A-4EB6-B5AA-18E2A45ACF68}"/>
              </a:ext>
            </a:extLst>
          </p:cNvPr>
          <p:cNvGrpSpPr/>
          <p:nvPr userDrawn="1"/>
        </p:nvGrpSpPr>
        <p:grpSpPr>
          <a:xfrm>
            <a:off x="11085326" y="137746"/>
            <a:ext cx="1087187" cy="883335"/>
            <a:chOff x="10977375" y="137745"/>
            <a:chExt cx="1166440" cy="957326"/>
          </a:xfrm>
        </p:grpSpPr>
        <p:pic>
          <p:nvPicPr>
            <p:cNvPr id="19" name="Picture 2" descr="\\SONY\Users\Nivas\Desktop\analytic-edge\logo.png">
              <a:extLst>
                <a:ext uri="{FF2B5EF4-FFF2-40B4-BE49-F238E27FC236}">
                  <a16:creationId xmlns:a16="http://schemas.microsoft.com/office/drawing/2014/main" id="{0A525A1E-8075-4D17-AC2D-4406EE8EBEB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ED9B458D-29BD-4E11-8ECA-D47D904312E3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21" name="Rectangle 1">
                <a:extLst>
                  <a:ext uri="{FF2B5EF4-FFF2-40B4-BE49-F238E27FC236}">
                    <a16:creationId xmlns:a16="http://schemas.microsoft.com/office/drawing/2014/main" id="{2B904846-34EB-4CB2-BC2F-A5B95084B8D3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0"/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2D09B069-B13A-4537-AF79-8449F5F4EA63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23" name="Freeform 10">
                  <a:extLst>
                    <a:ext uri="{FF2B5EF4-FFF2-40B4-BE49-F238E27FC236}">
                      <a16:creationId xmlns:a16="http://schemas.microsoft.com/office/drawing/2014/main" id="{A9317810-CCB2-4A26-B368-FF16C94496C2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4" name="Freeform 11">
                  <a:extLst>
                    <a:ext uri="{FF2B5EF4-FFF2-40B4-BE49-F238E27FC236}">
                      <a16:creationId xmlns:a16="http://schemas.microsoft.com/office/drawing/2014/main" id="{F467C7F1-3F4B-4AF2-BB76-20D0B31F7235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02C4074-D679-4D75-91B9-7719280E36E0}"/>
              </a:ext>
            </a:extLst>
          </p:cNvPr>
          <p:cNvCxnSpPr>
            <a:cxnSpLocks/>
          </p:cNvCxnSpPr>
          <p:nvPr userDrawn="1"/>
        </p:nvCxnSpPr>
        <p:spPr>
          <a:xfrm>
            <a:off x="1" y="6597135"/>
            <a:ext cx="12192000" cy="0"/>
          </a:xfrm>
          <a:prstGeom prst="line">
            <a:avLst/>
          </a:prstGeom>
          <a:ln w="6350" cap="sq">
            <a:solidFill>
              <a:schemeClr val="accent1">
                <a:lumMod val="50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47981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9FF314A5-3DBF-4B68-B28D-E1C0B111B2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22406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DA9C2DBB-220C-411F-BAAE-3B160BFFFE23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D95FAD8-309A-4AFB-8F16-C63EFE9DA3D6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30225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3C6318DA-9F05-4228-BFCA-2835697726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C11F388D-4847-4347-8E99-4EAB0D276E7D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FE1E241-AA40-4F2D-B0A0-8714BFFC185D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346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38FD79EE-FC4A-4454-B8AD-FA64FCC2F23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F23B34AF-4EA3-4023-9ADC-CF6F5968530A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322BA1D-6E93-4C4B-967E-2C1A9BCA3888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25716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>
            <a:extLst>
              <a:ext uri="{FF2B5EF4-FFF2-40B4-BE49-F238E27FC236}">
                <a16:creationId xmlns:a16="http://schemas.microsoft.com/office/drawing/2014/main" id="{DC4F9F2A-971B-4B21-AE46-D73C510DC1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F88736C8-11BA-4021-AD6F-67433E6E95FE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ED6477D-A6CC-4E42-84D0-D7AD98F62594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5914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 descr="Bolt, rivalul european al gigantului Uber, a încheiat o rundă de investiţii  de 150 de milioane">
            <a:extLst>
              <a:ext uri="{FF2B5EF4-FFF2-40B4-BE49-F238E27FC236}">
                <a16:creationId xmlns:a16="http://schemas.microsoft.com/office/drawing/2014/main" id="{116A7398-1A53-4D83-BD23-B7CCA5D96BE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83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2">
            <a:extLst>
              <a:ext uri="{FF2B5EF4-FFF2-40B4-BE49-F238E27FC236}">
                <a16:creationId xmlns:a16="http://schemas.microsoft.com/office/drawing/2014/main" id="{46F3D7DC-458E-4AF0-958E-BCB167E20295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454987D-08E0-4D91-B4F2-E87FBBFA3DBA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77289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>
            <a:extLst>
              <a:ext uri="{FF2B5EF4-FFF2-40B4-BE49-F238E27FC236}">
                <a16:creationId xmlns:a16="http://schemas.microsoft.com/office/drawing/2014/main" id="{38F984A1-8051-45F8-8FEA-13ABF50BC36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19199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2">
            <a:extLst>
              <a:ext uri="{FF2B5EF4-FFF2-40B4-BE49-F238E27FC236}">
                <a16:creationId xmlns:a16="http://schemas.microsoft.com/office/drawing/2014/main" id="{46F3D7DC-458E-4AF0-958E-BCB167E20295}"/>
              </a:ext>
            </a:extLst>
          </p:cNvPr>
          <p:cNvSpPr txBox="1">
            <a:spLocks/>
          </p:cNvSpPr>
          <p:nvPr userDrawn="1"/>
        </p:nvSpPr>
        <p:spPr>
          <a:xfrm>
            <a:off x="0" y="2780002"/>
            <a:ext cx="11887200" cy="4077998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N" sz="440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454987D-08E0-4D91-B4F2-E87FBBFA3DBA}"/>
              </a:ext>
            </a:extLst>
          </p:cNvPr>
          <p:cNvCxnSpPr/>
          <p:nvPr userDrawn="1"/>
        </p:nvCxnSpPr>
        <p:spPr>
          <a:xfrm>
            <a:off x="609600" y="4933950"/>
            <a:ext cx="0" cy="1228725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85146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C6F2E6-ECCD-4D77-ABC8-33031DB8F3ED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438892583"/>
              </p:ext>
            </p:extLst>
          </p:nvPr>
        </p:nvGraphicFramePr>
        <p:xfrm>
          <a:off x="1604" y="1588"/>
          <a:ext cx="160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20" imgW="421" imgH="423" progId="TCLayout.ActiveDocument.1">
                  <p:embed/>
                </p:oleObj>
              </mc:Choice>
              <mc:Fallback>
                <p:oleObj name="think-cell Slide" r:id="rId20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C6F2E6-ECCD-4D77-ABC8-33031DB8F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604" y="1588"/>
                        <a:ext cx="160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00" y="6602667"/>
            <a:ext cx="2555300" cy="365125"/>
          </a:xfrm>
          <a:prstGeom prst="rect">
            <a:avLst/>
          </a:prstGeom>
          <a:ln>
            <a:noFill/>
          </a:ln>
        </p:spPr>
        <p:txBody>
          <a:bodyPr/>
          <a:lstStyle>
            <a:lvl1pPr algn="ctr">
              <a:defRPr sz="8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/>
              <a:t>© Analytic Edge Proprietary and Confidentia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45218" y="6602667"/>
            <a:ext cx="581838" cy="365125"/>
          </a:xfrm>
          <a:prstGeom prst="rect">
            <a:avLst/>
          </a:prstGeom>
          <a:ln>
            <a:noFill/>
          </a:ln>
        </p:spPr>
        <p:txBody>
          <a:bodyPr/>
          <a:lstStyle>
            <a:lvl1pPr algn="ctr">
              <a:defRPr sz="8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4034BEE3-566C-4068-A777-C3A4762E861B}" type="slidenum">
              <a:rPr lang="en-IN" smtClean="0"/>
              <a:pPr/>
              <a:t>‹#›</a:t>
            </a:fld>
            <a:endParaRPr lang="en-IN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4E56B3C-E4B6-4486-9ADF-E37E873A5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221753359"/>
              </p:ext>
            </p:extLst>
          </p:nvPr>
        </p:nvGraphicFramePr>
        <p:xfrm>
          <a:off x="1604" y="1588"/>
          <a:ext cx="160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22" imgW="421" imgH="423" progId="TCLayout.ActiveDocument.1">
                  <p:embed/>
                </p:oleObj>
              </mc:Choice>
              <mc:Fallback>
                <p:oleObj name="think-cell Slide" r:id="rId22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4E56B3C-E4B6-4486-9ADF-E37E873A5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604" y="1588"/>
                        <a:ext cx="160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55324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A1CE53-54EC-4D1E-8072-B71A630ADA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1" i="0" u="none" strike="noStrike" kern="1200" cap="none" spc="0" normalizeH="0" baseline="0" noProof="0" smtClean="0">
                <a:ln>
                  <a:noFill/>
                </a:ln>
                <a:solidFill>
                  <a:srgbClr val="186A43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N" sz="800" b="1" i="0" u="none" strike="noStrike" kern="1200" cap="none" spc="0" normalizeH="0" baseline="0" noProof="0">
              <a:ln>
                <a:noFill/>
              </a:ln>
              <a:solidFill>
                <a:srgbClr val="186A43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6469C51-764F-4650-AB52-C1239902B4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ergy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6099B1-285E-42AE-A606-28790F6BCE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186A43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5488EB7-D632-413F-BC13-85F00CB52759}"/>
              </a:ext>
            </a:extLst>
          </p:cNvPr>
          <p:cNvSpPr txBox="1">
            <a:spLocks/>
          </p:cNvSpPr>
          <p:nvPr/>
        </p:nvSpPr>
        <p:spPr>
          <a:xfrm>
            <a:off x="937377" y="1572099"/>
            <a:ext cx="10658053" cy="4933486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6370" marR="0" lvl="0" indent="-166370" algn="l" defTabSz="905256" rtl="0" eaLnBrk="1" fontAlgn="auto" latinLnBrk="0" hangingPunct="1">
              <a:spcBef>
                <a:spcPts val="30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en two or more marketing activities are done together, they can generate response from the consumers over and above their individual responses</a:t>
            </a:r>
          </a:p>
          <a:p>
            <a:pPr marL="166370" marR="0" lvl="0" indent="-166370" algn="l" defTabSz="905256" rtl="0" eaLnBrk="1" fontAlgn="auto" latinLnBrk="0" hangingPunct="1">
              <a:spcBef>
                <a:spcPts val="30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500" dirty="0">
                <a:solidFill>
                  <a:prstClr val="black"/>
                </a:solidFill>
                <a:latin typeface="Calibri"/>
              </a:rPr>
              <a:t>This phenomena of whole being greater than the sum of parts is called Synergy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166370" marR="0" lvl="0" indent="-166370" algn="l" defTabSz="905256" rtl="0" eaLnBrk="1" fontAlgn="auto" latinLnBrk="0" hangingPunct="1">
              <a:spcBef>
                <a:spcPts val="30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66370" marR="0" lvl="0" indent="-166370" algn="l" defTabSz="905256" rtl="0" eaLnBrk="1" fontAlgn="auto" latinLnBrk="0" hangingPunct="1">
              <a:spcBef>
                <a:spcPts val="300"/>
              </a:spcBef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66370" indent="-166370" defTabSz="905256">
              <a:spcBef>
                <a:spcPts val="300"/>
              </a:spcBef>
              <a:defRPr/>
            </a:pPr>
            <a:r>
              <a:rPr lang="en-US" sz="1500" dirty="0">
                <a:solidFill>
                  <a:prstClr val="black"/>
                </a:solidFill>
                <a:latin typeface="Calibri"/>
              </a:rPr>
              <a:t>Synergy results are usually reported in the form of percentages</a:t>
            </a:r>
          </a:p>
          <a:p>
            <a:pPr marL="166370" indent="-166370" defTabSz="905256">
              <a:spcBef>
                <a:spcPts val="300"/>
              </a:spcBef>
              <a:defRPr/>
            </a:pPr>
            <a:r>
              <a:rPr lang="en-US" sz="1500" dirty="0">
                <a:solidFill>
                  <a:prstClr val="black"/>
                </a:solidFill>
                <a:latin typeface="Calibri"/>
              </a:rPr>
              <a:t>These percentages represent the % contribution of the synergy effect </a:t>
            </a:r>
            <a:br>
              <a:rPr lang="en-US" sz="1500" dirty="0">
                <a:solidFill>
                  <a:prstClr val="black"/>
                </a:solidFill>
                <a:latin typeface="Calibri"/>
              </a:rPr>
            </a:br>
            <a:r>
              <a:rPr lang="en-US" sz="1500" dirty="0">
                <a:solidFill>
                  <a:prstClr val="black"/>
                </a:solidFill>
                <a:latin typeface="Calibri"/>
              </a:rPr>
              <a:t>out of the total contributions of all activities the synergy is calculated for</a:t>
            </a:r>
          </a:p>
          <a:p>
            <a:pPr marL="166370" indent="-166370" defTabSz="905256">
              <a:spcBef>
                <a:spcPts val="300"/>
              </a:spcBef>
              <a:defRPr/>
            </a:pPr>
            <a:r>
              <a:rPr lang="en-US" sz="1500" dirty="0">
                <a:solidFill>
                  <a:prstClr val="black"/>
                </a:solidFill>
                <a:latin typeface="Calibri"/>
              </a:rPr>
              <a:t>For example : The synergy result for FB + Google is 4.4 %. This means that </a:t>
            </a:r>
            <a:br>
              <a:rPr lang="en-US" sz="1500" dirty="0">
                <a:solidFill>
                  <a:prstClr val="black"/>
                </a:solidFill>
                <a:latin typeface="Calibri"/>
              </a:rPr>
            </a:br>
            <a:r>
              <a:rPr lang="en-US" sz="1500" dirty="0">
                <a:solidFill>
                  <a:prstClr val="black"/>
                </a:solidFill>
                <a:latin typeface="Calibri"/>
              </a:rPr>
              <a:t>from the contributions of FB and google (when they were done together), </a:t>
            </a:r>
            <a:br>
              <a:rPr lang="en-US" sz="1500" dirty="0">
                <a:solidFill>
                  <a:prstClr val="black"/>
                </a:solidFill>
                <a:latin typeface="Calibri"/>
              </a:rPr>
            </a:br>
            <a:r>
              <a:rPr lang="en-US" sz="1500" dirty="0">
                <a:solidFill>
                  <a:prstClr val="black"/>
                </a:solidFill>
                <a:latin typeface="Calibri"/>
              </a:rPr>
              <a:t>4.4% was from their interaction with each other.  95.6% of the contributions </a:t>
            </a:r>
            <a:br>
              <a:rPr lang="en-US" sz="1500" dirty="0">
                <a:solidFill>
                  <a:prstClr val="black"/>
                </a:solidFill>
                <a:latin typeface="Calibri"/>
              </a:rPr>
            </a:br>
            <a:r>
              <a:rPr lang="en-US" sz="1500" dirty="0">
                <a:solidFill>
                  <a:prstClr val="black"/>
                </a:solidFill>
                <a:latin typeface="Calibri"/>
              </a:rPr>
              <a:t>are the sum of their individual parts </a:t>
            </a:r>
          </a:p>
          <a:p>
            <a:pPr marL="166370" indent="-166370" defTabSz="905256">
              <a:spcBef>
                <a:spcPts val="300"/>
              </a:spcBef>
              <a:defRPr/>
            </a:pPr>
            <a:endParaRPr lang="en-US" sz="1500" dirty="0">
              <a:solidFill>
                <a:prstClr val="black"/>
              </a:solidFill>
              <a:latin typeface="Calibri"/>
            </a:endParaRPr>
          </a:p>
          <a:p>
            <a:pPr marL="166370" indent="-166370" defTabSz="905256">
              <a:spcBef>
                <a:spcPts val="300"/>
              </a:spcBef>
              <a:defRPr/>
            </a:pPr>
            <a:endParaRPr lang="en-US" sz="1500" dirty="0">
              <a:solidFill>
                <a:prstClr val="black"/>
              </a:solidFill>
              <a:latin typeface="Calibri"/>
            </a:endParaRPr>
          </a:p>
          <a:p>
            <a:pPr marL="166370" indent="-166370" defTabSz="905256">
              <a:spcBef>
                <a:spcPts val="300"/>
              </a:spcBef>
              <a:defRPr/>
            </a:pPr>
            <a:r>
              <a:rPr lang="en-US" sz="1500" dirty="0">
                <a:solidFill>
                  <a:prstClr val="black"/>
                </a:solidFill>
                <a:latin typeface="Calibri"/>
              </a:rPr>
              <a:t>Synergy results will help in putting the marketing mix variables together in a way that achieves maximum effect</a:t>
            </a:r>
          </a:p>
          <a:p>
            <a:pPr marL="166370" indent="-166370" defTabSz="905256">
              <a:spcBef>
                <a:spcPts val="300"/>
              </a:spcBef>
              <a:defRPr/>
            </a:pPr>
            <a:r>
              <a:rPr lang="en-US" sz="1500" dirty="0">
                <a:solidFill>
                  <a:prstClr val="black"/>
                </a:solidFill>
                <a:latin typeface="Calibri"/>
              </a:rPr>
              <a:t>They also help in budget allocation decisions; synergy results help to decide upon what works better when executed together and invest accordingly </a:t>
            </a:r>
          </a:p>
          <a:p>
            <a:pPr marL="166370" indent="-166370" defTabSz="905256">
              <a:spcBef>
                <a:spcPts val="300"/>
              </a:spcBef>
              <a:defRPr/>
            </a:pPr>
            <a:r>
              <a:rPr lang="en-US" sz="1500" dirty="0">
                <a:solidFill>
                  <a:prstClr val="black"/>
                </a:solidFill>
                <a:latin typeface="Calibri"/>
              </a:rPr>
              <a:t>For e.g.: while investing in OOH;  synergy results can help decide on what goes well in conjunction with OOH to get a higher uplift.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3AFC88E-4D0A-4880-8F76-93E68930EDC8}"/>
              </a:ext>
            </a:extLst>
          </p:cNvPr>
          <p:cNvSpPr/>
          <p:nvPr/>
        </p:nvSpPr>
        <p:spPr>
          <a:xfrm>
            <a:off x="937377" y="1215919"/>
            <a:ext cx="10623417" cy="32046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is synergy 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AC113D8-4541-4FDD-9A04-3AD9C81E4E1B}"/>
              </a:ext>
            </a:extLst>
          </p:cNvPr>
          <p:cNvSpPr/>
          <p:nvPr/>
        </p:nvSpPr>
        <p:spPr>
          <a:xfrm>
            <a:off x="937377" y="4761271"/>
            <a:ext cx="10623417" cy="32046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w to use the synergy results going forward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6CBFAF-3E07-4B42-90FE-232AEC63F559}"/>
              </a:ext>
            </a:extLst>
          </p:cNvPr>
          <p:cNvSpPr/>
          <p:nvPr/>
        </p:nvSpPr>
        <p:spPr>
          <a:xfrm>
            <a:off x="937377" y="2500554"/>
            <a:ext cx="10623417" cy="32046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FFFFFF"/>
                </a:solidFill>
                <a:latin typeface="Calibri"/>
              </a:rPr>
              <a:t>How to interpret Synergy results ?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259E22EC-2694-40C6-BAF6-F74E5A7F0A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4464376"/>
              </p:ext>
            </p:extLst>
          </p:nvPr>
        </p:nvGraphicFramePr>
        <p:xfrm>
          <a:off x="7620000" y="2894834"/>
          <a:ext cx="3946855" cy="1762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300389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12F8E5-9C15-47CF-9BD8-3F615D9395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1" i="0" u="none" strike="noStrike" kern="1200" cap="none" spc="0" normalizeH="0" baseline="0" noProof="0" smtClean="0">
                <a:ln>
                  <a:noFill/>
                </a:ln>
                <a:solidFill>
                  <a:srgbClr val="186A43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IN" sz="800" b="1" i="0" u="none" strike="noStrike" kern="1200" cap="none" spc="0" normalizeH="0" baseline="0" noProof="0">
              <a:ln>
                <a:noFill/>
              </a:ln>
              <a:solidFill>
                <a:srgbClr val="186A43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50338E-AC7B-443C-AA22-7A1CF9AC0A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ergy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0AEFDA-26C3-4E11-8F86-A84781AD5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186A43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4BBA36F-F916-476B-B078-BB6F39E1D3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0074496"/>
              </p:ext>
            </p:extLst>
          </p:nvPr>
        </p:nvGraphicFramePr>
        <p:xfrm>
          <a:off x="1448976" y="665455"/>
          <a:ext cx="10002599" cy="5833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Left Brace 9">
            <a:extLst>
              <a:ext uri="{FF2B5EF4-FFF2-40B4-BE49-F238E27FC236}">
                <a16:creationId xmlns:a16="http://schemas.microsoft.com/office/drawing/2014/main" id="{B8B54D9F-F801-4917-AE7D-B43D5AA90D20}"/>
              </a:ext>
            </a:extLst>
          </p:cNvPr>
          <p:cNvSpPr/>
          <p:nvPr/>
        </p:nvSpPr>
        <p:spPr>
          <a:xfrm>
            <a:off x="984730" y="4459458"/>
            <a:ext cx="513313" cy="1733087"/>
          </a:xfrm>
          <a:prstGeom prst="leftBrac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l" defTabSz="9052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8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CEF97000-6928-493B-8506-D95412EB7E21}"/>
              </a:ext>
            </a:extLst>
          </p:cNvPr>
          <p:cNvSpPr/>
          <p:nvPr/>
        </p:nvSpPr>
        <p:spPr>
          <a:xfrm>
            <a:off x="984730" y="3226872"/>
            <a:ext cx="520512" cy="1002587"/>
          </a:xfrm>
          <a:prstGeom prst="leftBrac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l" defTabSz="9052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8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Left Brace 12">
            <a:extLst>
              <a:ext uri="{FF2B5EF4-FFF2-40B4-BE49-F238E27FC236}">
                <a16:creationId xmlns:a16="http://schemas.microsoft.com/office/drawing/2014/main" id="{748D8151-7002-4B65-8782-F33F0898E380}"/>
              </a:ext>
            </a:extLst>
          </p:cNvPr>
          <p:cNvSpPr/>
          <p:nvPr/>
        </p:nvSpPr>
        <p:spPr>
          <a:xfrm>
            <a:off x="984729" y="2272714"/>
            <a:ext cx="513313" cy="703838"/>
          </a:xfrm>
          <a:prstGeom prst="leftBrac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l" defTabSz="9052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8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Left Brace 13">
            <a:extLst>
              <a:ext uri="{FF2B5EF4-FFF2-40B4-BE49-F238E27FC236}">
                <a16:creationId xmlns:a16="http://schemas.microsoft.com/office/drawing/2014/main" id="{956C75E1-25C5-4B58-B87A-8F5FFCAC75E6}"/>
              </a:ext>
            </a:extLst>
          </p:cNvPr>
          <p:cNvSpPr/>
          <p:nvPr/>
        </p:nvSpPr>
        <p:spPr>
          <a:xfrm>
            <a:off x="984728" y="1260721"/>
            <a:ext cx="513313" cy="781994"/>
          </a:xfrm>
          <a:prstGeom prst="leftBrac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l" defTabSz="9052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8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3EABC6-6E44-4FC8-A2BC-CFF737AA6FCA}"/>
              </a:ext>
            </a:extLst>
          </p:cNvPr>
          <p:cNvSpPr txBox="1"/>
          <p:nvPr/>
        </p:nvSpPr>
        <p:spPr>
          <a:xfrm rot="16200000">
            <a:off x="125302" y="5160668"/>
            <a:ext cx="914400" cy="274320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34A85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bo of 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23B3CB5-50DB-480C-A857-5C36159A2C34}"/>
              </a:ext>
            </a:extLst>
          </p:cNvPr>
          <p:cNvSpPr txBox="1"/>
          <p:nvPr/>
        </p:nvSpPr>
        <p:spPr>
          <a:xfrm rot="16200000">
            <a:off x="152593" y="3682346"/>
            <a:ext cx="914400" cy="274320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34A85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bo of 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395516-4C02-4B85-9680-2DD89A90FA98}"/>
              </a:ext>
            </a:extLst>
          </p:cNvPr>
          <p:cNvSpPr txBox="1"/>
          <p:nvPr/>
        </p:nvSpPr>
        <p:spPr>
          <a:xfrm rot="16200000">
            <a:off x="168833" y="2508073"/>
            <a:ext cx="914400" cy="274320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34A85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bo of 4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3377194-2B5D-4ED8-9486-A75D5C06813E}"/>
              </a:ext>
            </a:extLst>
          </p:cNvPr>
          <p:cNvSpPr txBox="1"/>
          <p:nvPr/>
        </p:nvSpPr>
        <p:spPr>
          <a:xfrm rot="16200000">
            <a:off x="168833" y="1462398"/>
            <a:ext cx="914400" cy="276999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34A85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bo &gt;=5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E010523-06A6-4D9D-8551-09E80FC8D243}"/>
              </a:ext>
            </a:extLst>
          </p:cNvPr>
          <p:cNvSpPr txBox="1"/>
          <p:nvPr/>
        </p:nvSpPr>
        <p:spPr>
          <a:xfrm>
            <a:off x="10537175" y="2368234"/>
            <a:ext cx="914400" cy="276999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1" i="0" u="none" strike="noStrike" kern="1200" cap="none" spc="0" normalizeH="0" baseline="0" noProof="0" dirty="0">
                <a:ln>
                  <a:noFill/>
                </a:ln>
                <a:solidFill>
                  <a:srgbClr val="34A85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plift in %</a:t>
            </a:r>
          </a:p>
        </p:txBody>
      </p:sp>
    </p:spTree>
    <p:extLst>
      <p:ext uri="{BB962C8B-B14F-4D97-AF65-F5344CB8AC3E}">
        <p14:creationId xmlns:p14="http://schemas.microsoft.com/office/powerpoint/2010/main" val="1012391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Bolt">
  <a:themeElements>
    <a:clrScheme name="Custom 112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186A43"/>
      </a:accent1>
      <a:accent2>
        <a:srgbClr val="002060"/>
      </a:accent2>
      <a:accent3>
        <a:srgbClr val="C82606"/>
      </a:accent3>
      <a:accent4>
        <a:srgbClr val="F79646"/>
      </a:accent4>
      <a:accent5>
        <a:srgbClr val="252526"/>
      </a:accent5>
      <a:accent6>
        <a:srgbClr val="1877F2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olt" id="{F0B4D3A3-6A14-4662-8767-269145F77354}" vid="{9E20B7BD-456A-4814-837C-C5AE85D2045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6</TotalTime>
  <Words>261</Words>
  <Application>Microsoft Office PowerPoint</Application>
  <PresentationFormat>Widescreen</PresentationFormat>
  <Paragraphs>31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Optimistic Text</vt:lpstr>
      <vt:lpstr>4_Bolt</vt:lpstr>
      <vt:lpstr>think-cell Slide</vt:lpstr>
      <vt:lpstr>Synergy</vt:lpstr>
      <vt:lpstr>Synerg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ynergy</dc:title>
  <dc:creator>Kavya Bhat</dc:creator>
  <cp:lastModifiedBy>Sekar Subramanian</cp:lastModifiedBy>
  <cp:revision>7</cp:revision>
  <dcterms:created xsi:type="dcterms:W3CDTF">2022-02-09T06:06:35Z</dcterms:created>
  <dcterms:modified xsi:type="dcterms:W3CDTF">2022-02-10T10:52:49Z</dcterms:modified>
</cp:coreProperties>
</file>